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256" r:id="rId5"/>
    <p:sldId id="258" r:id="rId6"/>
    <p:sldId id="257" r:id="rId7"/>
    <p:sldId id="259" r:id="rId8"/>
    <p:sldId id="260" r:id="rId9"/>
    <p:sldId id="264" r:id="rId10"/>
    <p:sldId id="266" r:id="rId11"/>
    <p:sldId id="267" r:id="rId12"/>
    <p:sldId id="262" r:id="rId13"/>
    <p:sldId id="26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E33"/>
    <a:srgbClr val="E1BE63"/>
    <a:srgbClr val="30574C"/>
    <a:srgbClr val="95B27F"/>
    <a:srgbClr val="FDFEFC"/>
    <a:srgbClr val="D7EDC7"/>
    <a:srgbClr val="90B0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FA097C-13E7-3EB5-E93F-3B2991B34942}" v="659" dt="2025-02-09T12:17:59.476"/>
    <p1510:client id="{9A12AA92-3964-487D-9FBF-18909F2C55B8}" v="700" dt="2025-02-09T12:22:00.147"/>
    <p1510:client id="{B013BFCD-979A-9965-47C9-A555A2319563}" v="618" dt="2025-02-09T12:20:33.3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5" d="100"/>
          <a:sy n="95" d="100"/>
        </p:scale>
        <p:origin x="-1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2EBD127-8026-4740-BEF8-50934F9209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CFF37F-5A01-4B13-94BD-BEC195736A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19A579-3FF7-41C2-9ED2-5A3852308E3F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099FFB8-E85E-4C43-AA11-781B285604D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547F1A7-7921-43F0-B3A5-3873091EBF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ED0547-7F66-4896-96C2-CCD58A152E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5EDF61-DE81-4326-8C75-02EAF1DDF1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B514B-C7F5-4C94-85B1-D168BA8E54FA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653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B514B-C7F5-4C94-85B1-D168BA8E54F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202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664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B514B-C7F5-4C94-85B1-D168BA8E54F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988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lant Photo : https://www.pexels.com/photo/green-leafed-plant-2215534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032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B514B-C7F5-4C94-85B1-D168BA8E54F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06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4DBCB-2424-4FCE-AAA7-F0E9353F85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68323D-52F5-4F00-83ED-CD507320B0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87933-55AF-4F20-B833-77119BB12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F3A93-273F-4DB9-B2E7-C78EB60B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EB9F39-9501-46D0-A83C-ECB7CA66E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71127"/>
      </p:ext>
    </p:extLst>
  </p:cSld>
  <p:clrMapOvr>
    <a:masterClrMapping/>
  </p:clrMapOvr>
  <p:transition spd="slow" advTm="9000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1BC4A-4885-4369-B59F-9E937780E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9BDF1F-0E79-465F-BB09-2E60AB94A2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F37E04-37DB-4F8E-A784-4181E8FF3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1A1516-5193-4E39-BD0C-E352F3860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E9B140-9F5C-41CC-B13F-8774AC883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530885"/>
      </p:ext>
    </p:extLst>
  </p:cSld>
  <p:clrMapOvr>
    <a:masterClrMapping/>
  </p:clrMapOvr>
  <p:transition spd="slow" advTm="9000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7A20CA-5A57-4A3F-91F4-03509CF2D0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829427-5B54-4704-8F19-47C5098926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7162C0-BCAB-42AF-A3C8-E3816C9FD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B8C04D-1490-4161-A174-0800F295E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92DE2D-5B89-468A-8B15-43AD7228C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107820"/>
      </p:ext>
    </p:extLst>
  </p:cSld>
  <p:clrMapOvr>
    <a:masterClrMapping/>
  </p:clrMapOvr>
  <p:transition spd="slow" advTm="9000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63F4A-8D45-474B-A01C-2C6BDF814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F883DE-855C-4BE5-92E9-5268588B93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E532F6-7F5B-4A43-8F64-A0D1670EC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5537E-ED03-41B0-8D30-2EC0DE29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13460C-E909-4DF5-8331-725D97694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000809"/>
      </p:ext>
    </p:extLst>
  </p:cSld>
  <p:clrMapOvr>
    <a:masterClrMapping/>
  </p:clrMapOvr>
  <p:transition spd="slow" advTm="9000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B1EBD-D854-4D45-88A5-80E568EEC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6B739-6DBA-46BB-80D1-F08D00C102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A0D10-8181-4ADA-B5AA-7D82CBAE3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DA447A-CCA1-4651-AC57-061B832EC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9E674-C3AF-430E-9046-511BFDE0C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841285"/>
      </p:ext>
    </p:extLst>
  </p:cSld>
  <p:clrMapOvr>
    <a:masterClrMapping/>
  </p:clrMapOvr>
  <p:transition spd="slow" advTm="9000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677BB-ADAC-4EBB-8458-E0AFABA96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9E9D63-24E1-4498-B6EF-537B2D087B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56C814-E0B1-4795-9919-C5E01D4379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FAF21A-B4C4-4CFB-8D16-EC7554F90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D21DD1-478F-495E-A4A6-6726237D7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B63385-7380-427B-855A-2E427685C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593591"/>
      </p:ext>
    </p:extLst>
  </p:cSld>
  <p:clrMapOvr>
    <a:masterClrMapping/>
  </p:clrMapOvr>
  <p:transition spd="slow" advTm="900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C178E-70C9-4F46-8D0D-AC94AEDAC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C5D18-F66C-4436-A412-C9718988A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F08341-D7C3-4A14-B37B-8607866F61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F0BA7-2850-44C3-A72C-B8AC483810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0872F-2A40-4FF8-8942-F74E17A421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47FF3A-D964-4B03-B72E-549B041E3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A5631D-6F06-4D9A-BA00-E96179127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D0BEDB-66BC-4B82-A9D2-8B6ED26D0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870341"/>
      </p:ext>
    </p:extLst>
  </p:cSld>
  <p:clrMapOvr>
    <a:masterClrMapping/>
  </p:clrMapOvr>
  <p:transition spd="slow" advTm="9000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42291-DC16-4753-97AD-3A916DCBA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DFDCBF-6BB4-40D0-9AB6-2F5D2BC33C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A5D9B-365B-4AE9-990D-F7A81C9D4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7B9F4E-0B04-4F4B-8591-0ECB577B4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175892"/>
      </p:ext>
    </p:extLst>
  </p:cSld>
  <p:clrMapOvr>
    <a:masterClrMapping/>
  </p:clrMapOvr>
  <p:transition spd="slow" advTm="9000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486AD1-1281-4C8B-A7F9-A124FFD3C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9612C7-4B37-4949-81F3-CB2DC46B7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A6BA2C-B9F8-4209-9379-069B3072E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51773"/>
      </p:ext>
    </p:extLst>
  </p:cSld>
  <p:clrMapOvr>
    <a:masterClrMapping/>
  </p:clrMapOvr>
  <p:transition spd="slow" advTm="9000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67036-2D32-4CD9-B7A7-8ED6CC43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F78EFC-6E5F-4457-B1AD-49D92A3FAA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56E96E-6B0B-4512-9173-3F4492D89B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F12778-9BF1-440D-A637-D37BE36A5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C35930-B813-459A-9A0B-536B88FAD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76F10B-CBEE-45CE-AF1F-1E4E3B748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07674"/>
      </p:ext>
    </p:extLst>
  </p:cSld>
  <p:clrMapOvr>
    <a:masterClrMapping/>
  </p:clrMapOvr>
  <p:transition spd="slow" advTm="9000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B727A-4A52-4A3F-BEFD-B99216822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FC40AA-B178-437F-A5CA-054A627D39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6BFA86-6A88-4525-B079-D954AD4ED6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756448-FBA4-4805-A8B1-B5C0D3865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2807D6-589A-4A36-8F54-8B8C592AC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27576E-00DC-4581-9299-AF813EDA6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129107"/>
      </p:ext>
    </p:extLst>
  </p:cSld>
  <p:clrMapOvr>
    <a:masterClrMapping/>
  </p:clrMapOvr>
  <p:transition spd="slow" advTm="9000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AEE73F-72B9-4AF1-B2BA-3F7C42D00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5312A3-E8AA-4C4F-B468-0A273B8053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4D3F4E-0AA7-4598-A599-57C637B531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98E3B5-B6AF-4335-92B9-94471D8DCE46}" type="datetimeFigureOut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76C67F-76A4-463A-BBE1-031667930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E1DE1-042D-40E4-879C-C781E97337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2DA88EC-9D10-482C-8534-4434BB238323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21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Tm="9000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image" Target="../media/image1.png"/><Relationship Id="rId21" Type="http://schemas.openxmlformats.org/officeDocument/2006/relationships/image" Target="../media/image19.svg"/><Relationship Id="rId7" Type="http://schemas.openxmlformats.org/officeDocument/2006/relationships/image" Target="../media/image5.jpeg"/><Relationship Id="rId12" Type="http://schemas.openxmlformats.org/officeDocument/2006/relationships/image" Target="../media/image10.svg"/><Relationship Id="rId17" Type="http://schemas.openxmlformats.org/officeDocument/2006/relationships/image" Target="../media/image15.svg"/><Relationship Id="rId25" Type="http://schemas.openxmlformats.org/officeDocument/2006/relationships/image" Target="../media/image2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24" Type="http://schemas.openxmlformats.org/officeDocument/2006/relationships/image" Target="../media/image22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21.svg"/><Relationship Id="rId28" Type="http://schemas.openxmlformats.org/officeDocument/2006/relationships/image" Target="../media/image26.jpeg"/><Relationship Id="rId10" Type="http://schemas.openxmlformats.org/officeDocument/2006/relationships/image" Target="../media/image8.svg"/><Relationship Id="rId19" Type="http://schemas.openxmlformats.org/officeDocument/2006/relationships/image" Target="../media/image17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png"/><Relationship Id="rId27" Type="http://schemas.openxmlformats.org/officeDocument/2006/relationships/image" Target="../media/image25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1.png"/><Relationship Id="rId7" Type="http://schemas.openxmlformats.org/officeDocument/2006/relationships/image" Target="../media/image14.png"/><Relationship Id="rId12" Type="http://schemas.openxmlformats.org/officeDocument/2006/relationships/image" Target="../media/image49.sv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svg"/><Relationship Id="rId11" Type="http://schemas.openxmlformats.org/officeDocument/2006/relationships/image" Target="../media/image3.png"/><Relationship Id="rId5" Type="http://schemas.openxmlformats.org/officeDocument/2006/relationships/image" Target="../media/image7.png"/><Relationship Id="rId10" Type="http://schemas.openxmlformats.org/officeDocument/2006/relationships/image" Target="../media/image45.svg"/><Relationship Id="rId4" Type="http://schemas.openxmlformats.org/officeDocument/2006/relationships/image" Target="../media/image46.svg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.png"/><Relationship Id="rId7" Type="http://schemas.openxmlformats.org/officeDocument/2006/relationships/image" Target="../media/image27.emf"/><Relationship Id="rId12" Type="http://schemas.openxmlformats.org/officeDocument/2006/relationships/image" Target="../media/image2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11" Type="http://schemas.openxmlformats.org/officeDocument/2006/relationships/image" Target="../media/image28.png"/><Relationship Id="rId5" Type="http://schemas.openxmlformats.org/officeDocument/2006/relationships/image" Target="../media/image20.png"/><Relationship Id="rId10" Type="http://schemas.openxmlformats.org/officeDocument/2006/relationships/image" Target="../media/image13.png"/><Relationship Id="rId4" Type="http://schemas.openxmlformats.org/officeDocument/2006/relationships/image" Target="../media/image2.svg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image" Target="../media/image32.jpe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35.jpeg"/><Relationship Id="rId5" Type="http://schemas.openxmlformats.org/officeDocument/2006/relationships/image" Target="../media/image2.svg"/><Relationship Id="rId10" Type="http://schemas.openxmlformats.org/officeDocument/2006/relationships/image" Target="../media/image34.jpeg"/><Relationship Id="rId4" Type="http://schemas.openxmlformats.org/officeDocument/2006/relationships/image" Target="../media/image1.png"/><Relationship Id="rId9" Type="http://schemas.openxmlformats.org/officeDocument/2006/relationships/image" Target="../media/image3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42.jpeg"/><Relationship Id="rId3" Type="http://schemas.openxmlformats.org/officeDocument/2006/relationships/image" Target="../media/image29.emf"/><Relationship Id="rId7" Type="http://schemas.openxmlformats.org/officeDocument/2006/relationships/image" Target="../media/image20.png"/><Relationship Id="rId12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svg"/><Relationship Id="rId11" Type="http://schemas.openxmlformats.org/officeDocument/2006/relationships/image" Target="../media/image40.jpeg"/><Relationship Id="rId5" Type="http://schemas.openxmlformats.org/officeDocument/2006/relationships/image" Target="../media/image1.pn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image" Target="../media/image37.emf"/><Relationship Id="rId9" Type="http://schemas.openxmlformats.org/officeDocument/2006/relationships/image" Target="../media/image38.jpeg"/><Relationship Id="rId1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13" Type="http://schemas.openxmlformats.org/officeDocument/2006/relationships/image" Target="../media/image29.emf"/><Relationship Id="rId3" Type="http://schemas.openxmlformats.org/officeDocument/2006/relationships/image" Target="../media/image1.png"/><Relationship Id="rId7" Type="http://schemas.openxmlformats.org/officeDocument/2006/relationships/image" Target="../media/image14.png"/><Relationship Id="rId12" Type="http://schemas.openxmlformats.org/officeDocument/2006/relationships/image" Target="../media/image49.svg"/><Relationship Id="rId2" Type="http://schemas.openxmlformats.org/officeDocument/2006/relationships/image" Target="../media/image36.jpeg"/><Relationship Id="rId16" Type="http://schemas.openxmlformats.org/officeDocument/2006/relationships/image" Target="../media/image5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svg"/><Relationship Id="rId11" Type="http://schemas.openxmlformats.org/officeDocument/2006/relationships/image" Target="../media/image3.png"/><Relationship Id="rId5" Type="http://schemas.openxmlformats.org/officeDocument/2006/relationships/image" Target="../media/image7.png"/><Relationship Id="rId15" Type="http://schemas.openxmlformats.org/officeDocument/2006/relationships/image" Target="../media/image51.png"/><Relationship Id="rId10" Type="http://schemas.openxmlformats.org/officeDocument/2006/relationships/image" Target="../media/image45.svg"/><Relationship Id="rId4" Type="http://schemas.openxmlformats.org/officeDocument/2006/relationships/image" Target="../media/image46.svg"/><Relationship Id="rId9" Type="http://schemas.openxmlformats.org/officeDocument/2006/relationships/image" Target="../media/image18.png"/><Relationship Id="rId1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57.png"/><Relationship Id="rId3" Type="http://schemas.openxmlformats.org/officeDocument/2006/relationships/image" Target="../media/image1.png"/><Relationship Id="rId21" Type="http://schemas.openxmlformats.org/officeDocument/2006/relationships/image" Target="../media/image45.svg"/><Relationship Id="rId7" Type="http://schemas.openxmlformats.org/officeDocument/2006/relationships/image" Target="../media/image5.jpeg"/><Relationship Id="rId12" Type="http://schemas.openxmlformats.org/officeDocument/2006/relationships/image" Target="../media/image53.svg"/><Relationship Id="rId17" Type="http://schemas.openxmlformats.org/officeDocument/2006/relationships/image" Target="../media/image48.svg"/><Relationship Id="rId25" Type="http://schemas.openxmlformats.org/officeDocument/2006/relationships/image" Target="../media/image23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svg"/><Relationship Id="rId11" Type="http://schemas.openxmlformats.org/officeDocument/2006/relationships/image" Target="../media/image9.png"/><Relationship Id="rId24" Type="http://schemas.openxmlformats.org/officeDocument/2006/relationships/image" Target="../media/image22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56.svg"/><Relationship Id="rId10" Type="http://schemas.openxmlformats.org/officeDocument/2006/relationships/image" Target="../media/image47.svg"/><Relationship Id="rId19" Type="http://schemas.openxmlformats.org/officeDocument/2006/relationships/image" Target="../media/image55.svg"/><Relationship Id="rId4" Type="http://schemas.openxmlformats.org/officeDocument/2006/relationships/image" Target="../media/image46.svg"/><Relationship Id="rId9" Type="http://schemas.openxmlformats.org/officeDocument/2006/relationships/image" Target="../media/image7.png"/><Relationship Id="rId14" Type="http://schemas.openxmlformats.org/officeDocument/2006/relationships/image" Target="../media/image54.svg"/><Relationship Id="rId22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6.jpeg"/><Relationship Id="rId7" Type="http://schemas.openxmlformats.org/officeDocument/2006/relationships/image" Target="../media/image46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11" Type="http://schemas.openxmlformats.org/officeDocument/2006/relationships/image" Target="../media/image60.svg"/><Relationship Id="rId5" Type="http://schemas.openxmlformats.org/officeDocument/2006/relationships/image" Target="../media/image58.jpeg"/><Relationship Id="rId10" Type="http://schemas.openxmlformats.org/officeDocument/2006/relationships/image" Target="../media/image59.png"/><Relationship Id="rId4" Type="http://schemas.openxmlformats.org/officeDocument/2006/relationships/image" Target="../media/image29.emf"/><Relationship Id="rId9" Type="http://schemas.openxmlformats.org/officeDocument/2006/relationships/image" Target="../media/image5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9A02F3D-30F4-4916-9DDE-E6E5E9191B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0574C"/>
              </a:gs>
              <a:gs pos="45000">
                <a:srgbClr val="50745C"/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3" name="Graphic 472">
            <a:extLst>
              <a:ext uri="{FF2B5EF4-FFF2-40B4-BE49-F238E27FC236}">
                <a16:creationId xmlns:a16="http://schemas.microsoft.com/office/drawing/2014/main" id="{AB8931FC-796F-4055-83AA-1B87C2EEC5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932382" flipH="1">
            <a:off x="6272220" y="4720556"/>
            <a:ext cx="1173145" cy="2510941"/>
          </a:xfrm>
          <a:prstGeom prst="rect">
            <a:avLst/>
          </a:prstGeom>
        </p:spPr>
      </p:pic>
      <p:sp>
        <p:nvSpPr>
          <p:cNvPr id="1388" name="Rectangle: Single Corner Rounded 1387">
            <a:extLst>
              <a:ext uri="{FF2B5EF4-FFF2-40B4-BE49-F238E27FC236}">
                <a16:creationId xmlns:a16="http://schemas.microsoft.com/office/drawing/2014/main" id="{3415865A-C8F4-4DF3-884A-120F016A3521}"/>
              </a:ext>
            </a:extLst>
          </p:cNvPr>
          <p:cNvSpPr/>
          <p:nvPr/>
        </p:nvSpPr>
        <p:spPr>
          <a:xfrm flipH="1">
            <a:off x="670069" y="6487550"/>
            <a:ext cx="11816805" cy="1001305"/>
          </a:xfrm>
          <a:prstGeom prst="round1Rect">
            <a:avLst>
              <a:gd name="adj" fmla="val 50000"/>
            </a:avLst>
          </a:prstGeom>
          <a:solidFill>
            <a:srgbClr val="2A3E33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7" name="Graphic 460">
            <a:extLst>
              <a:ext uri="{FF2B5EF4-FFF2-40B4-BE49-F238E27FC236}">
                <a16:creationId xmlns:a16="http://schemas.microsoft.com/office/drawing/2014/main" id="{5FE0F5A2-9FFE-4C53-AD07-F1994A01E598}"/>
              </a:ext>
            </a:extLst>
          </p:cNvPr>
          <p:cNvSpPr/>
          <p:nvPr/>
        </p:nvSpPr>
        <p:spPr>
          <a:xfrm>
            <a:off x="5750437" y="4056318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80" name="Graphic 1379">
            <a:extLst>
              <a:ext uri="{FF2B5EF4-FFF2-40B4-BE49-F238E27FC236}">
                <a16:creationId xmlns:a16="http://schemas.microsoft.com/office/drawing/2014/main" id="{83733D6B-E099-4335-A325-21FCE22B5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9599" y="4598534"/>
            <a:ext cx="1721844" cy="241948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F53EEAF-A340-46D9-9B2B-2E647FB36F17}"/>
              </a:ext>
            </a:extLst>
          </p:cNvPr>
          <p:cNvSpPr/>
          <p:nvPr/>
        </p:nvSpPr>
        <p:spPr>
          <a:xfrm>
            <a:off x="10900228" y="0"/>
            <a:ext cx="1291771" cy="1358900"/>
          </a:xfrm>
          <a:prstGeom prst="rect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C1EB366-190C-4A7D-AF0A-9CAB921FFF84}"/>
              </a:ext>
            </a:extLst>
          </p:cNvPr>
          <p:cNvSpPr/>
          <p:nvPr/>
        </p:nvSpPr>
        <p:spPr>
          <a:xfrm>
            <a:off x="0" y="-635000"/>
            <a:ext cx="444500" cy="444500"/>
          </a:xfrm>
          <a:prstGeom prst="ellipse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BDC1E75-354F-402E-94A2-F5E0C8FF60CA}"/>
              </a:ext>
            </a:extLst>
          </p:cNvPr>
          <p:cNvSpPr/>
          <p:nvPr/>
        </p:nvSpPr>
        <p:spPr>
          <a:xfrm>
            <a:off x="558800" y="-635000"/>
            <a:ext cx="444500" cy="444500"/>
          </a:xfrm>
          <a:prstGeom prst="ellipse">
            <a:avLst/>
          </a:prstGeom>
          <a:solidFill>
            <a:srgbClr val="90B0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6682FED-664D-44EA-9502-B4401CE465AA}"/>
              </a:ext>
            </a:extLst>
          </p:cNvPr>
          <p:cNvSpPr/>
          <p:nvPr/>
        </p:nvSpPr>
        <p:spPr>
          <a:xfrm>
            <a:off x="1117600" y="-635000"/>
            <a:ext cx="444500" cy="444500"/>
          </a:xfrm>
          <a:prstGeom prst="ellipse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8D0CD9-2222-4EAB-80DA-05CE0B3CF50E}"/>
              </a:ext>
            </a:extLst>
          </p:cNvPr>
          <p:cNvSpPr/>
          <p:nvPr/>
        </p:nvSpPr>
        <p:spPr>
          <a:xfrm>
            <a:off x="1676400" y="-635000"/>
            <a:ext cx="444500" cy="444500"/>
          </a:xfrm>
          <a:prstGeom prst="ellipse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39E06BB-9A1A-40F4-8C02-FF0936F8BB4C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6BFB6E9-B315-4140-8C1B-98453CDD60F1}"/>
              </a:ext>
            </a:extLst>
          </p:cNvPr>
          <p:cNvSpPr/>
          <p:nvPr/>
        </p:nvSpPr>
        <p:spPr>
          <a:xfrm>
            <a:off x="2794000" y="-635000"/>
            <a:ext cx="444500" cy="444500"/>
          </a:xfrm>
          <a:prstGeom prst="ellipse">
            <a:avLst/>
          </a:prstGeom>
          <a:solidFill>
            <a:srgbClr val="FDFE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BA00F6BD-ABD4-4B87-80EE-C5ED4FFBABCC}"/>
              </a:ext>
            </a:extLst>
          </p:cNvPr>
          <p:cNvSpPr/>
          <p:nvPr/>
        </p:nvSpPr>
        <p:spPr>
          <a:xfrm flipH="1">
            <a:off x="7518400" y="986970"/>
            <a:ext cx="4673600" cy="5871029"/>
          </a:xfrm>
          <a:prstGeom prst="round1Rect">
            <a:avLst/>
          </a:prstGeom>
          <a:solidFill>
            <a:srgbClr val="D7EDC7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C60A45-3DB6-4596-B21E-9EF4114BA878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1205457-0811-4FBC-A795-BBAFD80C9CD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46EE3D1-DC52-4B65-98F4-8CA8BF5E401E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5DD88DB-1F75-48E5-8F5A-F730EB473A8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31" descr="Green-leafed Plant">
            <a:extLst>
              <a:ext uri="{FF2B5EF4-FFF2-40B4-BE49-F238E27FC236}">
                <a16:creationId xmlns:a16="http://schemas.microsoft.com/office/drawing/2014/main" id="{1393E241-A3C1-4C3D-8DD8-ED8E4D0C5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53"/>
          <a:stretch>
            <a:fillRect/>
          </a:stretch>
        </p:blipFill>
        <p:spPr bwMode="auto">
          <a:xfrm>
            <a:off x="7518401" y="986970"/>
            <a:ext cx="4673599" cy="5871029"/>
          </a:xfrm>
          <a:custGeom>
            <a:avLst/>
            <a:gdLst>
              <a:gd name="connsiteX0" fmla="*/ 778949 w 4673599"/>
              <a:gd name="connsiteY0" fmla="*/ 0 h 5871029"/>
              <a:gd name="connsiteX1" fmla="*/ 4673599 w 4673599"/>
              <a:gd name="connsiteY1" fmla="*/ 0 h 5871029"/>
              <a:gd name="connsiteX2" fmla="*/ 4673599 w 4673599"/>
              <a:gd name="connsiteY2" fmla="*/ 5871029 h 5871029"/>
              <a:gd name="connsiteX3" fmla="*/ 0 w 4673599"/>
              <a:gd name="connsiteY3" fmla="*/ 5871029 h 5871029"/>
              <a:gd name="connsiteX4" fmla="*/ 0 w 4673599"/>
              <a:gd name="connsiteY4" fmla="*/ 778949 h 5871029"/>
              <a:gd name="connsiteX5" fmla="*/ 778949 w 4673599"/>
              <a:gd name="connsiteY5" fmla="*/ 0 h 587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3599" h="5871029">
                <a:moveTo>
                  <a:pt x="778949" y="0"/>
                </a:moveTo>
                <a:lnTo>
                  <a:pt x="4673599" y="0"/>
                </a:lnTo>
                <a:lnTo>
                  <a:pt x="4673599" y="5871029"/>
                </a:lnTo>
                <a:lnTo>
                  <a:pt x="0" y="5871029"/>
                </a:lnTo>
                <a:lnTo>
                  <a:pt x="0" y="778949"/>
                </a:lnTo>
                <a:cubicBezTo>
                  <a:pt x="0" y="348747"/>
                  <a:pt x="348747" y="0"/>
                  <a:pt x="77894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A680EDD-03F5-4CFF-A40B-D3912B65D2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666" y="385832"/>
            <a:ext cx="2816472" cy="1676886"/>
          </a:xfrm>
          <a:prstGeom prst="rect">
            <a:avLst/>
          </a:prstGeom>
        </p:spPr>
      </p:pic>
      <p:pic>
        <p:nvPicPr>
          <p:cNvPr id="1377" name="Graphic 1376">
            <a:extLst>
              <a:ext uri="{FF2B5EF4-FFF2-40B4-BE49-F238E27FC236}">
                <a16:creationId xmlns:a16="http://schemas.microsoft.com/office/drawing/2014/main" id="{0DE58F00-7DF8-4DC1-8E6C-BFB9E9FA0E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71987" y="4075345"/>
            <a:ext cx="1525277" cy="3315820"/>
          </a:xfrm>
          <a:prstGeom prst="rect">
            <a:avLst/>
          </a:prstGeom>
        </p:spPr>
      </p:pic>
      <p:pic>
        <p:nvPicPr>
          <p:cNvPr id="1379" name="Graphic 1378">
            <a:extLst>
              <a:ext uri="{FF2B5EF4-FFF2-40B4-BE49-F238E27FC236}">
                <a16:creationId xmlns:a16="http://schemas.microsoft.com/office/drawing/2014/main" id="{8A6FC5A6-E874-4766-8949-4C4ABFC12C6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05036" y="4362057"/>
            <a:ext cx="1194638" cy="2730601"/>
          </a:xfrm>
          <a:prstGeom prst="rect">
            <a:avLst/>
          </a:prstGeom>
        </p:spPr>
      </p:pic>
      <p:pic>
        <p:nvPicPr>
          <p:cNvPr id="1382" name="Graphic 1381">
            <a:extLst>
              <a:ext uri="{FF2B5EF4-FFF2-40B4-BE49-F238E27FC236}">
                <a16:creationId xmlns:a16="http://schemas.microsoft.com/office/drawing/2014/main" id="{DD913929-155B-4D1C-9292-77335173F3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21867">
            <a:off x="7515675" y="4528686"/>
            <a:ext cx="1173145" cy="2510941"/>
          </a:xfrm>
          <a:prstGeom prst="rect">
            <a:avLst/>
          </a:prstGeom>
        </p:spPr>
      </p:pic>
      <p:pic>
        <p:nvPicPr>
          <p:cNvPr id="1383" name="Graphic 1382">
            <a:extLst>
              <a:ext uri="{FF2B5EF4-FFF2-40B4-BE49-F238E27FC236}">
                <a16:creationId xmlns:a16="http://schemas.microsoft.com/office/drawing/2014/main" id="{682E9BA8-0316-40EE-B8C9-3B910B947EA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6664766">
            <a:off x="6240679" y="5514772"/>
            <a:ext cx="1361312" cy="1563821"/>
          </a:xfrm>
          <a:prstGeom prst="rect">
            <a:avLst/>
          </a:prstGeom>
        </p:spPr>
      </p:pic>
      <p:pic>
        <p:nvPicPr>
          <p:cNvPr id="1375" name="Picture 1374">
            <a:extLst>
              <a:ext uri="{FF2B5EF4-FFF2-40B4-BE49-F238E27FC236}">
                <a16:creationId xmlns:a16="http://schemas.microsoft.com/office/drawing/2014/main" id="{C1084779-F7D5-447B-AFAB-3BF529D477C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5547" y="2161131"/>
            <a:ext cx="1388163" cy="1946742"/>
          </a:xfrm>
          <a:prstGeom prst="rect">
            <a:avLst/>
          </a:prstGeom>
        </p:spPr>
      </p:pic>
      <p:pic>
        <p:nvPicPr>
          <p:cNvPr id="457" name="Graphic 456">
            <a:extLst>
              <a:ext uri="{FF2B5EF4-FFF2-40B4-BE49-F238E27FC236}">
                <a16:creationId xmlns:a16="http://schemas.microsoft.com/office/drawing/2014/main" id="{71085EBF-621A-4C9D-94A1-AAD06E65869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3371695">
            <a:off x="9776635" y="5629309"/>
            <a:ext cx="1505517" cy="1729478"/>
          </a:xfrm>
          <a:prstGeom prst="rect">
            <a:avLst/>
          </a:prstGeom>
        </p:spPr>
      </p:pic>
      <p:pic>
        <p:nvPicPr>
          <p:cNvPr id="1381" name="Graphic 1380">
            <a:extLst>
              <a:ext uri="{FF2B5EF4-FFF2-40B4-BE49-F238E27FC236}">
                <a16:creationId xmlns:a16="http://schemas.microsoft.com/office/drawing/2014/main" id="{D17CB0D1-3A16-4D54-8ED7-068F09619A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12939" y="5191699"/>
            <a:ext cx="934985" cy="1856801"/>
          </a:xfrm>
          <a:prstGeom prst="rect">
            <a:avLst/>
          </a:prstGeom>
        </p:spPr>
      </p:pic>
      <p:pic>
        <p:nvPicPr>
          <p:cNvPr id="1384" name="Graphic 1383">
            <a:extLst>
              <a:ext uri="{FF2B5EF4-FFF2-40B4-BE49-F238E27FC236}">
                <a16:creationId xmlns:a16="http://schemas.microsoft.com/office/drawing/2014/main" id="{06E47D55-D461-4D28-ABDB-1F8D315F29D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45914" y="4696664"/>
            <a:ext cx="1349178" cy="1925750"/>
          </a:xfrm>
          <a:prstGeom prst="rect">
            <a:avLst/>
          </a:prstGeom>
        </p:spPr>
      </p:pic>
      <p:pic>
        <p:nvPicPr>
          <p:cNvPr id="458" name="Graphic 457">
            <a:extLst>
              <a:ext uri="{FF2B5EF4-FFF2-40B4-BE49-F238E27FC236}">
                <a16:creationId xmlns:a16="http://schemas.microsoft.com/office/drawing/2014/main" id="{065C9871-4B8C-47B7-8604-D975CB37F9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69644" y="5004913"/>
            <a:ext cx="772715" cy="1534546"/>
          </a:xfrm>
          <a:prstGeom prst="rect">
            <a:avLst/>
          </a:prstGeom>
        </p:spPr>
      </p:pic>
      <p:pic>
        <p:nvPicPr>
          <p:cNvPr id="1385" name="Graphic 1384">
            <a:extLst>
              <a:ext uri="{FF2B5EF4-FFF2-40B4-BE49-F238E27FC236}">
                <a16:creationId xmlns:a16="http://schemas.microsoft.com/office/drawing/2014/main" id="{E86959AA-0054-4D22-83B6-89C03A718F9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536619" y="5419968"/>
            <a:ext cx="1954192" cy="2018264"/>
          </a:xfrm>
          <a:prstGeom prst="rect">
            <a:avLst/>
          </a:prstGeom>
        </p:spPr>
      </p:pic>
      <p:pic>
        <p:nvPicPr>
          <p:cNvPr id="1386" name="Graphic 1385">
            <a:extLst>
              <a:ext uri="{FF2B5EF4-FFF2-40B4-BE49-F238E27FC236}">
                <a16:creationId xmlns:a16="http://schemas.microsoft.com/office/drawing/2014/main" id="{27A30A95-75D8-43F4-A9D3-BB691BD9E56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1297693" flipH="1">
            <a:off x="7537538" y="5550830"/>
            <a:ext cx="1631140" cy="1661628"/>
          </a:xfrm>
          <a:prstGeom prst="rect">
            <a:avLst/>
          </a:prstGeom>
        </p:spPr>
      </p:pic>
      <p:sp>
        <p:nvSpPr>
          <p:cNvPr id="465" name="TextBox 464">
            <a:extLst>
              <a:ext uri="{FF2B5EF4-FFF2-40B4-BE49-F238E27FC236}">
                <a16:creationId xmlns:a16="http://schemas.microsoft.com/office/drawing/2014/main" id="{75378069-CC8B-46B1-A531-1B90E9D05524}"/>
              </a:ext>
            </a:extLst>
          </p:cNvPr>
          <p:cNvSpPr txBox="1"/>
          <p:nvPr/>
        </p:nvSpPr>
        <p:spPr>
          <a:xfrm>
            <a:off x="1261569" y="6603758"/>
            <a:ext cx="392290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>
                <a:solidFill>
                  <a:schemeClr val="bg1"/>
                </a:solidFill>
              </a:rPr>
              <a:t>By, Faeq Faisal, Hamza </a:t>
            </a:r>
            <a:r>
              <a:rPr lang="en-US" sz="1050" err="1">
                <a:solidFill>
                  <a:schemeClr val="bg1"/>
                </a:solidFill>
              </a:rPr>
              <a:t>Wahbi</a:t>
            </a:r>
            <a:r>
              <a:rPr lang="en-US" sz="1050">
                <a:solidFill>
                  <a:schemeClr val="bg1"/>
                </a:solidFill>
              </a:rPr>
              <a:t> &amp; Benyamin Bansa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C4BEB71-B7D1-7B4C-7F51-4C33D69C166C}"/>
              </a:ext>
            </a:extLst>
          </p:cNvPr>
          <p:cNvGrpSpPr/>
          <p:nvPr/>
        </p:nvGrpSpPr>
        <p:grpSpPr>
          <a:xfrm>
            <a:off x="699757" y="367127"/>
            <a:ext cx="1944171" cy="413217"/>
            <a:chOff x="699757" y="367127"/>
            <a:chExt cx="1944171" cy="41321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6F15DDD-3A8E-4D1C-992C-25A6CA7AF82C}"/>
                </a:ext>
              </a:extLst>
            </p:cNvPr>
            <p:cNvSpPr txBox="1"/>
            <p:nvPr/>
          </p:nvSpPr>
          <p:spPr>
            <a:xfrm>
              <a:off x="1153372" y="468312"/>
              <a:ext cx="149055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solidFill>
                    <a:schemeClr val="bg1"/>
                  </a:solidFill>
                </a:rPr>
                <a:t>LLM 2 LEAF</a:t>
              </a:r>
            </a:p>
          </p:txBody>
        </p:sp>
        <p:pic>
          <p:nvPicPr>
            <p:cNvPr id="27" name="Graphic 26" descr="Leaf outline">
              <a:extLst>
                <a:ext uri="{FF2B5EF4-FFF2-40B4-BE49-F238E27FC236}">
                  <a16:creationId xmlns:a16="http://schemas.microsoft.com/office/drawing/2014/main" id="{F4CBB91E-55F3-5044-2F93-3E04466D2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99757" y="367127"/>
              <a:ext cx="413217" cy="413217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24BB876-AEA4-CDC8-DFF5-D06A2E0AA8BA}"/>
              </a:ext>
            </a:extLst>
          </p:cNvPr>
          <p:cNvGrpSpPr/>
          <p:nvPr/>
        </p:nvGrpSpPr>
        <p:grpSpPr>
          <a:xfrm>
            <a:off x="647536" y="1787111"/>
            <a:ext cx="6155531" cy="1477327"/>
            <a:chOff x="647536" y="1787111"/>
            <a:chExt cx="6155531" cy="147732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97704C4-D420-491B-8C40-7D3ECDD781BC}"/>
                </a:ext>
              </a:extLst>
            </p:cNvPr>
            <p:cNvSpPr txBox="1"/>
            <p:nvPr/>
          </p:nvSpPr>
          <p:spPr>
            <a:xfrm>
              <a:off x="647536" y="1787111"/>
              <a:ext cx="6155531" cy="12311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8000" b="1">
                  <a:solidFill>
                    <a:schemeClr val="bg1"/>
                  </a:solidFill>
                </a:rPr>
                <a:t>LLM 2 LEA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0898795-C6DE-4008-A928-3F4CDC7897B4}"/>
                </a:ext>
              </a:extLst>
            </p:cNvPr>
            <p:cNvSpPr txBox="1"/>
            <p:nvPr/>
          </p:nvSpPr>
          <p:spPr>
            <a:xfrm>
              <a:off x="744644" y="3018217"/>
              <a:ext cx="556670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>
                  <a:solidFill>
                    <a:schemeClr val="bg1"/>
                  </a:solidFill>
                </a:rPr>
                <a:t>Use your favorite LLMs with net zero CO</a:t>
              </a:r>
              <a:r>
                <a:rPr lang="en-US" sz="1600" baseline="-25000">
                  <a:solidFill>
                    <a:schemeClr val="bg1"/>
                  </a:solidFill>
                </a:rPr>
                <a:t>2  </a:t>
              </a:r>
              <a:r>
                <a:rPr lang="en-US" sz="1600">
                  <a:solidFill>
                    <a:schemeClr val="bg1"/>
                  </a:solidFill>
                </a:rPr>
                <a:t>emissions</a:t>
              </a:r>
              <a:endParaRPr lang="en-US" sz="1600" baseline="-25000">
                <a:solidFill>
                  <a:schemeClr val="bg1"/>
                </a:solidFill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0CD618F2-46D3-4DA6-BF1C-E3B3AF8AE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6049670" y="2922259"/>
              <a:ext cx="327932" cy="327932"/>
            </a:xfrm>
            <a:prstGeom prst="rect">
              <a:avLst/>
            </a:prstGeom>
          </p:spPr>
        </p:pic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75E430DF-9280-7EB3-34F5-BFAF5C870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5365" y="3539353"/>
            <a:ext cx="3681562" cy="2761172"/>
          </a:xfrm>
          <a:prstGeom prst="rect">
            <a:avLst/>
          </a:prstGeom>
          <a:noFill/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9280346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plant&#10;&#10;Description automatically generated">
            <a:extLst>
              <a:ext uri="{FF2B5EF4-FFF2-40B4-BE49-F238E27FC236}">
                <a16:creationId xmlns:a16="http://schemas.microsoft.com/office/drawing/2014/main" id="{3539E65F-EDFB-4CE2-8B40-86E9E20669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-1"/>
            <a:ext cx="12191996" cy="6858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65DCA5-8664-43DB-A28A-DF488862131D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Freeform 160">
            <a:extLst>
              <a:ext uri="{FF2B5EF4-FFF2-40B4-BE49-F238E27FC236}">
                <a16:creationId xmlns:a16="http://schemas.microsoft.com/office/drawing/2014/main" id="{EC081FB1-CFAA-4068-9D99-AE05AAEF50CB}"/>
              </a:ext>
            </a:extLst>
          </p:cNvPr>
          <p:cNvSpPr/>
          <p:nvPr/>
        </p:nvSpPr>
        <p:spPr>
          <a:xfrm rot="18900000" flipH="1">
            <a:off x="8443791" y="2645895"/>
            <a:ext cx="6092370" cy="4082444"/>
          </a:xfrm>
          <a:custGeom>
            <a:avLst/>
            <a:gdLst>
              <a:gd name="connsiteX0" fmla="*/ 0 w 6092370"/>
              <a:gd name="connsiteY0" fmla="*/ 7388 h 4082444"/>
              <a:gd name="connsiteX1" fmla="*/ 73286 w 6092370"/>
              <a:gd name="connsiteY1" fmla="*/ 0 h 4082444"/>
              <a:gd name="connsiteX2" fmla="*/ 5681261 w 6092370"/>
              <a:gd name="connsiteY2" fmla="*/ 0 h 4082444"/>
              <a:gd name="connsiteX3" fmla="*/ 6092370 w 6092370"/>
              <a:gd name="connsiteY3" fmla="*/ 411109 h 4082444"/>
              <a:gd name="connsiteX4" fmla="*/ 6092370 w 6092370"/>
              <a:gd name="connsiteY4" fmla="*/ 2065129 h 4082444"/>
              <a:gd name="connsiteX5" fmla="*/ 4075056 w 6092370"/>
              <a:gd name="connsiteY5" fmla="*/ 4082444 h 408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2370" h="4082444">
                <a:moveTo>
                  <a:pt x="0" y="7388"/>
                </a:moveTo>
                <a:lnTo>
                  <a:pt x="73286" y="0"/>
                </a:lnTo>
                <a:lnTo>
                  <a:pt x="5681261" y="0"/>
                </a:lnTo>
                <a:cubicBezTo>
                  <a:pt x="5908310" y="0"/>
                  <a:pt x="6092370" y="184060"/>
                  <a:pt x="6092370" y="411109"/>
                </a:cubicBezTo>
                <a:lnTo>
                  <a:pt x="6092370" y="2065129"/>
                </a:lnTo>
                <a:lnTo>
                  <a:pt x="4075056" y="4082444"/>
                </a:lnTo>
                <a:close/>
              </a:path>
            </a:pathLst>
          </a:custGeom>
          <a:gradFill>
            <a:gsLst>
              <a:gs pos="0">
                <a:srgbClr val="30574C"/>
              </a:gs>
              <a:gs pos="100000">
                <a:srgbClr val="2A3E33"/>
              </a:gs>
            </a:gsLst>
            <a:lin ang="3600000" scaled="0"/>
          </a:gra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raphic 460">
            <a:extLst>
              <a:ext uri="{FF2B5EF4-FFF2-40B4-BE49-F238E27FC236}">
                <a16:creationId xmlns:a16="http://schemas.microsoft.com/office/drawing/2014/main" id="{435A808E-B9F2-4067-A509-F53B791B4FCE}"/>
              </a:ext>
            </a:extLst>
          </p:cNvPr>
          <p:cNvSpPr/>
          <p:nvPr/>
        </p:nvSpPr>
        <p:spPr>
          <a:xfrm flipH="1">
            <a:off x="11100626" y="306946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1B80A6D-5C80-4323-B8BF-0E27AC76A2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1309592" flipH="1">
            <a:off x="10361748" y="4561292"/>
            <a:ext cx="1173145" cy="251094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209DA1B-A3F4-4C73-BF88-D26D98190A65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D96093E-A8E7-4139-A898-012944BAB66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1078EB0-05EB-49DF-AF89-72BD6D6A1204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69FA4A5-8E08-41C5-A7AB-9342A0DE066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6E98C2C5-6947-4F28-A2B4-7F1B16B3B3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58625" y="3663620"/>
            <a:ext cx="1525277" cy="331582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C82E252-F5FE-418C-AF0B-C3ED95B0AF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27911" y="5407708"/>
            <a:ext cx="772715" cy="1534546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7E16DBE-777F-44A0-BF80-50096DFF7E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23257" y="5008243"/>
            <a:ext cx="1954192" cy="2018264"/>
          </a:xfrm>
          <a:prstGeom prst="rect">
            <a:avLst/>
          </a:prstGeom>
        </p:spPr>
      </p:pic>
      <p:sp>
        <p:nvSpPr>
          <p:cNvPr id="22" name="Graphic 460">
            <a:extLst>
              <a:ext uri="{FF2B5EF4-FFF2-40B4-BE49-F238E27FC236}">
                <a16:creationId xmlns:a16="http://schemas.microsoft.com/office/drawing/2014/main" id="{58DDCE9E-B683-4421-A798-56FF1FD6FDB5}"/>
              </a:ext>
            </a:extLst>
          </p:cNvPr>
          <p:cNvSpPr/>
          <p:nvPr/>
        </p:nvSpPr>
        <p:spPr>
          <a:xfrm>
            <a:off x="9318422" y="399808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D7F19609-F351-44BB-8769-D3BE8E3049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55280" y="4607019"/>
            <a:ext cx="1721844" cy="2419488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9101135A-9FFB-440A-AE46-5BBE41C8FB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06986">
            <a:off x="9000803" y="5654501"/>
            <a:ext cx="1343576" cy="1387628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89B9D86-2A35-483B-B846-58CA434F0320}"/>
              </a:ext>
            </a:extLst>
          </p:cNvPr>
          <p:cNvCxnSpPr>
            <a:cxnSpLocks/>
          </p:cNvCxnSpPr>
          <p:nvPr/>
        </p:nvCxnSpPr>
        <p:spPr>
          <a:xfrm>
            <a:off x="1134499" y="1421201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24BB00D-79DE-45F0-8475-51730DBBE4A7}"/>
              </a:ext>
            </a:extLst>
          </p:cNvPr>
          <p:cNvSpPr txBox="1"/>
          <p:nvPr/>
        </p:nvSpPr>
        <p:spPr>
          <a:xfrm>
            <a:off x="1134499" y="1788031"/>
            <a:ext cx="4722494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>
                <a:solidFill>
                  <a:srgbClr val="E1BE63"/>
                </a:solidFill>
              </a:rPr>
              <a:t>GOAL</a:t>
            </a:r>
            <a:r>
              <a:rPr lang="en-US" sz="4000" b="1">
                <a:solidFill>
                  <a:schemeClr val="bg1"/>
                </a:solidFill>
              </a:rPr>
              <a:t>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400" b="1">
                <a:solidFill>
                  <a:schemeClr val="bg1"/>
                </a:solidFill>
              </a:rPr>
              <a:t>AND OBJECTIVES</a:t>
            </a:r>
            <a:endParaRPr lang="en-US" sz="4000" b="1">
              <a:solidFill>
                <a:srgbClr val="E1BE63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68276E2-882A-4383-80EA-76B3CDD63D43}"/>
              </a:ext>
            </a:extLst>
          </p:cNvPr>
          <p:cNvSpPr txBox="1"/>
          <p:nvPr/>
        </p:nvSpPr>
        <p:spPr>
          <a:xfrm>
            <a:off x="1134499" y="4515722"/>
            <a:ext cx="372960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400" err="1">
                <a:solidFill>
                  <a:schemeClr val="bg1"/>
                </a:solidFill>
              </a:rPr>
              <a:t>urna</a:t>
            </a:r>
            <a:r>
              <a:rPr lang="en-US" sz="1400">
                <a:solidFill>
                  <a:schemeClr val="bg1"/>
                </a:solidFill>
              </a:rPr>
              <a:t>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8DA6A80-3F9D-4775-8869-BDBE2A2F6476}"/>
              </a:ext>
            </a:extLst>
          </p:cNvPr>
          <p:cNvGrpSpPr/>
          <p:nvPr/>
        </p:nvGrpSpPr>
        <p:grpSpPr>
          <a:xfrm>
            <a:off x="6414265" y="874037"/>
            <a:ext cx="3907918" cy="5109927"/>
            <a:chOff x="6686340" y="698457"/>
            <a:chExt cx="3907918" cy="5109927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216A0A0-DF60-4130-B413-FC5C3882F9D7}"/>
                </a:ext>
              </a:extLst>
            </p:cNvPr>
            <p:cNvGrpSpPr/>
            <p:nvPr/>
          </p:nvGrpSpPr>
          <p:grpSpPr>
            <a:xfrm>
              <a:off x="6686340" y="3405654"/>
              <a:ext cx="3907918" cy="2402730"/>
              <a:chOff x="5976991" y="3349091"/>
              <a:chExt cx="3907918" cy="2402730"/>
            </a:xfrm>
          </p:grpSpPr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AF7CCDD1-478E-4D0C-8C35-2BAA6BD9D290}"/>
                  </a:ext>
                </a:extLst>
              </p:cNvPr>
              <p:cNvSpPr/>
              <p:nvPr/>
            </p:nvSpPr>
            <p:spPr>
              <a:xfrm>
                <a:off x="5976991" y="3681754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rgbClr val="E1BE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EDED1F79-0879-487B-AF55-71A1BE32D254}"/>
                  </a:ext>
                </a:extLst>
              </p:cNvPr>
              <p:cNvSpPr/>
              <p:nvPr/>
            </p:nvSpPr>
            <p:spPr>
              <a:xfrm>
                <a:off x="6259308" y="3349091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588AB387-775D-4AC2-A2AB-8C310251410E}"/>
                  </a:ext>
                </a:extLst>
              </p:cNvPr>
              <p:cNvGrpSpPr/>
              <p:nvPr/>
            </p:nvGrpSpPr>
            <p:grpSpPr>
              <a:xfrm>
                <a:off x="6258447" y="4294451"/>
                <a:ext cx="3314119" cy="1160109"/>
                <a:chOff x="1694985" y="4094325"/>
                <a:chExt cx="3314119" cy="1160109"/>
              </a:xfrm>
            </p:grpSpPr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D7BF94E0-75FB-41C5-85D1-DC2E14AEFEFA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7386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>
                      <a:solidFill>
                        <a:schemeClr val="bg1"/>
                      </a:solidFill>
                    </a:rPr>
                    <a:t>Lorem ipsum dolor sit amet, consectetuer adipiscing elit. Maecenas porttitor congue massa. Fusce posuere, magna sed pulvinar ultricies, purus lectus malesuada libero, 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F2DC1DAA-8079-45BD-98C1-EFA620154CC1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id-ID" b="1">
                      <a:solidFill>
                        <a:schemeClr val="bg1"/>
                      </a:solidFill>
                    </a:rPr>
                    <a:t>Lorem ipsum</a:t>
                  </a:r>
                  <a:endParaRPr lang="en-US" b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9D319F92-0AA2-4743-853D-23E45F8692E1}"/>
                  </a:ext>
                </a:extLst>
              </p:cNvPr>
              <p:cNvGrpSpPr/>
              <p:nvPr/>
            </p:nvGrpSpPr>
            <p:grpSpPr>
              <a:xfrm>
                <a:off x="6431316" y="3492286"/>
                <a:ext cx="321310" cy="378937"/>
                <a:chOff x="8464550" y="1825625"/>
                <a:chExt cx="292100" cy="344488"/>
              </a:xfrm>
            </p:grpSpPr>
            <p:sp>
              <p:nvSpPr>
                <p:cNvPr id="46" name="Freeform 118">
                  <a:extLst>
                    <a:ext uri="{FF2B5EF4-FFF2-40B4-BE49-F238E27FC236}">
                      <a16:creationId xmlns:a16="http://schemas.microsoft.com/office/drawing/2014/main" id="{939D3B01-9D61-45E3-AAF3-ED947B9721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55038" y="2065338"/>
                  <a:ext cx="149225" cy="104775"/>
                </a:xfrm>
                <a:custGeom>
                  <a:avLst/>
                  <a:gdLst>
                    <a:gd name="T0" fmla="*/ 496 w 661"/>
                    <a:gd name="T1" fmla="*/ 462 h 462"/>
                    <a:gd name="T2" fmla="*/ 165 w 661"/>
                    <a:gd name="T3" fmla="*/ 462 h 462"/>
                    <a:gd name="T4" fmla="*/ 165 w 661"/>
                    <a:gd name="T5" fmla="*/ 462 h 462"/>
                    <a:gd name="T6" fmla="*/ 160 w 661"/>
                    <a:gd name="T7" fmla="*/ 461 h 462"/>
                    <a:gd name="T8" fmla="*/ 154 w 661"/>
                    <a:gd name="T9" fmla="*/ 460 h 462"/>
                    <a:gd name="T10" fmla="*/ 150 w 661"/>
                    <a:gd name="T11" fmla="*/ 458 h 462"/>
                    <a:gd name="T12" fmla="*/ 145 w 661"/>
                    <a:gd name="T13" fmla="*/ 456 h 462"/>
                    <a:gd name="T14" fmla="*/ 142 w 661"/>
                    <a:gd name="T15" fmla="*/ 453 h 462"/>
                    <a:gd name="T16" fmla="*/ 138 w 661"/>
                    <a:gd name="T17" fmla="*/ 449 h 462"/>
                    <a:gd name="T18" fmla="*/ 136 w 661"/>
                    <a:gd name="T19" fmla="*/ 445 h 462"/>
                    <a:gd name="T20" fmla="*/ 134 w 661"/>
                    <a:gd name="T21" fmla="*/ 439 h 462"/>
                    <a:gd name="T22" fmla="*/ 1 w 661"/>
                    <a:gd name="T23" fmla="*/ 43 h 462"/>
                    <a:gd name="T24" fmla="*/ 1 w 661"/>
                    <a:gd name="T25" fmla="*/ 43 h 462"/>
                    <a:gd name="T26" fmla="*/ 0 w 661"/>
                    <a:gd name="T27" fmla="*/ 35 h 462"/>
                    <a:gd name="T28" fmla="*/ 0 w 661"/>
                    <a:gd name="T29" fmla="*/ 28 h 462"/>
                    <a:gd name="T30" fmla="*/ 2 w 661"/>
                    <a:gd name="T31" fmla="*/ 19 h 462"/>
                    <a:gd name="T32" fmla="*/ 5 w 661"/>
                    <a:gd name="T33" fmla="*/ 13 h 462"/>
                    <a:gd name="T34" fmla="*/ 5 w 661"/>
                    <a:gd name="T35" fmla="*/ 13 h 462"/>
                    <a:gd name="T36" fmla="*/ 12 w 661"/>
                    <a:gd name="T37" fmla="*/ 7 h 462"/>
                    <a:gd name="T38" fmla="*/ 18 w 661"/>
                    <a:gd name="T39" fmla="*/ 3 h 462"/>
                    <a:gd name="T40" fmla="*/ 25 w 661"/>
                    <a:gd name="T41" fmla="*/ 0 h 462"/>
                    <a:gd name="T42" fmla="*/ 32 w 661"/>
                    <a:gd name="T43" fmla="*/ 0 h 462"/>
                    <a:gd name="T44" fmla="*/ 627 w 661"/>
                    <a:gd name="T45" fmla="*/ 0 h 462"/>
                    <a:gd name="T46" fmla="*/ 627 w 661"/>
                    <a:gd name="T47" fmla="*/ 0 h 462"/>
                    <a:gd name="T48" fmla="*/ 636 w 661"/>
                    <a:gd name="T49" fmla="*/ 0 h 462"/>
                    <a:gd name="T50" fmla="*/ 643 w 661"/>
                    <a:gd name="T51" fmla="*/ 3 h 462"/>
                    <a:gd name="T52" fmla="*/ 649 w 661"/>
                    <a:gd name="T53" fmla="*/ 7 h 462"/>
                    <a:gd name="T54" fmla="*/ 654 w 661"/>
                    <a:gd name="T55" fmla="*/ 13 h 462"/>
                    <a:gd name="T56" fmla="*/ 654 w 661"/>
                    <a:gd name="T57" fmla="*/ 13 h 462"/>
                    <a:gd name="T58" fmla="*/ 658 w 661"/>
                    <a:gd name="T59" fmla="*/ 19 h 462"/>
                    <a:gd name="T60" fmla="*/ 661 w 661"/>
                    <a:gd name="T61" fmla="*/ 28 h 462"/>
                    <a:gd name="T62" fmla="*/ 661 w 661"/>
                    <a:gd name="T63" fmla="*/ 35 h 462"/>
                    <a:gd name="T64" fmla="*/ 660 w 661"/>
                    <a:gd name="T65" fmla="*/ 43 h 462"/>
                    <a:gd name="T66" fmla="*/ 527 w 661"/>
                    <a:gd name="T67" fmla="*/ 439 h 462"/>
                    <a:gd name="T68" fmla="*/ 527 w 661"/>
                    <a:gd name="T69" fmla="*/ 439 h 462"/>
                    <a:gd name="T70" fmla="*/ 525 w 661"/>
                    <a:gd name="T71" fmla="*/ 445 h 462"/>
                    <a:gd name="T72" fmla="*/ 522 w 661"/>
                    <a:gd name="T73" fmla="*/ 449 h 462"/>
                    <a:gd name="T74" fmla="*/ 519 w 661"/>
                    <a:gd name="T75" fmla="*/ 453 h 462"/>
                    <a:gd name="T76" fmla="*/ 515 w 661"/>
                    <a:gd name="T77" fmla="*/ 456 h 462"/>
                    <a:gd name="T78" fmla="*/ 510 w 661"/>
                    <a:gd name="T79" fmla="*/ 458 h 462"/>
                    <a:gd name="T80" fmla="*/ 506 w 661"/>
                    <a:gd name="T81" fmla="*/ 460 h 462"/>
                    <a:gd name="T82" fmla="*/ 501 w 661"/>
                    <a:gd name="T83" fmla="*/ 461 h 462"/>
                    <a:gd name="T84" fmla="*/ 496 w 661"/>
                    <a:gd name="T85" fmla="*/ 462 h 462"/>
                    <a:gd name="T86" fmla="*/ 496 w 661"/>
                    <a:gd name="T87" fmla="*/ 462 h 462"/>
                    <a:gd name="T88" fmla="*/ 189 w 661"/>
                    <a:gd name="T89" fmla="*/ 396 h 462"/>
                    <a:gd name="T90" fmla="*/ 472 w 661"/>
                    <a:gd name="T91" fmla="*/ 396 h 462"/>
                    <a:gd name="T92" fmla="*/ 582 w 661"/>
                    <a:gd name="T93" fmla="*/ 65 h 462"/>
                    <a:gd name="T94" fmla="*/ 79 w 661"/>
                    <a:gd name="T95" fmla="*/ 65 h 462"/>
                    <a:gd name="T96" fmla="*/ 189 w 661"/>
                    <a:gd name="T97" fmla="*/ 396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61" h="462">
                      <a:moveTo>
                        <a:pt x="496" y="462"/>
                      </a:moveTo>
                      <a:lnTo>
                        <a:pt x="165" y="462"/>
                      </a:lnTo>
                      <a:lnTo>
                        <a:pt x="165" y="462"/>
                      </a:lnTo>
                      <a:lnTo>
                        <a:pt x="160" y="461"/>
                      </a:lnTo>
                      <a:lnTo>
                        <a:pt x="154" y="460"/>
                      </a:lnTo>
                      <a:lnTo>
                        <a:pt x="150" y="458"/>
                      </a:lnTo>
                      <a:lnTo>
                        <a:pt x="145" y="456"/>
                      </a:lnTo>
                      <a:lnTo>
                        <a:pt x="142" y="453"/>
                      </a:lnTo>
                      <a:lnTo>
                        <a:pt x="138" y="449"/>
                      </a:lnTo>
                      <a:lnTo>
                        <a:pt x="136" y="445"/>
                      </a:lnTo>
                      <a:lnTo>
                        <a:pt x="134" y="439"/>
                      </a:lnTo>
                      <a:lnTo>
                        <a:pt x="1" y="43"/>
                      </a:lnTo>
                      <a:lnTo>
                        <a:pt x="1" y="43"/>
                      </a:lnTo>
                      <a:lnTo>
                        <a:pt x="0" y="35"/>
                      </a:lnTo>
                      <a:lnTo>
                        <a:pt x="0" y="28"/>
                      </a:lnTo>
                      <a:lnTo>
                        <a:pt x="2" y="19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12" y="7"/>
                      </a:lnTo>
                      <a:lnTo>
                        <a:pt x="18" y="3"/>
                      </a:lnTo>
                      <a:lnTo>
                        <a:pt x="25" y="0"/>
                      </a:lnTo>
                      <a:lnTo>
                        <a:pt x="32" y="0"/>
                      </a:lnTo>
                      <a:lnTo>
                        <a:pt x="627" y="0"/>
                      </a:lnTo>
                      <a:lnTo>
                        <a:pt x="627" y="0"/>
                      </a:lnTo>
                      <a:lnTo>
                        <a:pt x="636" y="0"/>
                      </a:lnTo>
                      <a:lnTo>
                        <a:pt x="643" y="3"/>
                      </a:lnTo>
                      <a:lnTo>
                        <a:pt x="649" y="7"/>
                      </a:lnTo>
                      <a:lnTo>
                        <a:pt x="654" y="13"/>
                      </a:lnTo>
                      <a:lnTo>
                        <a:pt x="654" y="13"/>
                      </a:lnTo>
                      <a:lnTo>
                        <a:pt x="658" y="19"/>
                      </a:lnTo>
                      <a:lnTo>
                        <a:pt x="661" y="28"/>
                      </a:lnTo>
                      <a:lnTo>
                        <a:pt x="661" y="35"/>
                      </a:lnTo>
                      <a:lnTo>
                        <a:pt x="660" y="43"/>
                      </a:lnTo>
                      <a:lnTo>
                        <a:pt x="527" y="439"/>
                      </a:lnTo>
                      <a:lnTo>
                        <a:pt x="527" y="439"/>
                      </a:lnTo>
                      <a:lnTo>
                        <a:pt x="525" y="445"/>
                      </a:lnTo>
                      <a:lnTo>
                        <a:pt x="522" y="449"/>
                      </a:lnTo>
                      <a:lnTo>
                        <a:pt x="519" y="453"/>
                      </a:lnTo>
                      <a:lnTo>
                        <a:pt x="515" y="456"/>
                      </a:lnTo>
                      <a:lnTo>
                        <a:pt x="510" y="458"/>
                      </a:lnTo>
                      <a:lnTo>
                        <a:pt x="506" y="460"/>
                      </a:lnTo>
                      <a:lnTo>
                        <a:pt x="501" y="461"/>
                      </a:lnTo>
                      <a:lnTo>
                        <a:pt x="496" y="462"/>
                      </a:lnTo>
                      <a:lnTo>
                        <a:pt x="496" y="462"/>
                      </a:lnTo>
                      <a:close/>
                      <a:moveTo>
                        <a:pt x="189" y="396"/>
                      </a:moveTo>
                      <a:lnTo>
                        <a:pt x="472" y="396"/>
                      </a:lnTo>
                      <a:lnTo>
                        <a:pt x="582" y="65"/>
                      </a:lnTo>
                      <a:lnTo>
                        <a:pt x="79" y="65"/>
                      </a:lnTo>
                      <a:lnTo>
                        <a:pt x="189" y="39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Freeform 119">
                  <a:extLst>
                    <a:ext uri="{FF2B5EF4-FFF2-40B4-BE49-F238E27FC236}">
                      <a16:creationId xmlns:a16="http://schemas.microsoft.com/office/drawing/2014/main" id="{000A605D-9F2A-4876-B7FC-5B467D21E6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32825" y="1909763"/>
                  <a:ext cx="123825" cy="139700"/>
                </a:xfrm>
                <a:custGeom>
                  <a:avLst/>
                  <a:gdLst>
                    <a:gd name="T0" fmla="*/ 237 w 546"/>
                    <a:gd name="T1" fmla="*/ 608 h 610"/>
                    <a:gd name="T2" fmla="*/ 193 w 546"/>
                    <a:gd name="T3" fmla="*/ 593 h 610"/>
                    <a:gd name="T4" fmla="*/ 155 w 546"/>
                    <a:gd name="T5" fmla="*/ 565 h 610"/>
                    <a:gd name="T6" fmla="*/ 118 w 546"/>
                    <a:gd name="T7" fmla="*/ 519 h 610"/>
                    <a:gd name="T8" fmla="*/ 93 w 546"/>
                    <a:gd name="T9" fmla="*/ 471 h 610"/>
                    <a:gd name="T10" fmla="*/ 46 w 546"/>
                    <a:gd name="T11" fmla="*/ 429 h 610"/>
                    <a:gd name="T12" fmla="*/ 17 w 546"/>
                    <a:gd name="T13" fmla="*/ 388 h 610"/>
                    <a:gd name="T14" fmla="*/ 4 w 546"/>
                    <a:gd name="T15" fmla="*/ 351 h 610"/>
                    <a:gd name="T16" fmla="*/ 1 w 546"/>
                    <a:gd name="T17" fmla="*/ 307 h 610"/>
                    <a:gd name="T18" fmla="*/ 10 w 546"/>
                    <a:gd name="T19" fmla="*/ 263 h 610"/>
                    <a:gd name="T20" fmla="*/ 34 w 546"/>
                    <a:gd name="T21" fmla="*/ 220 h 610"/>
                    <a:gd name="T22" fmla="*/ 68 w 546"/>
                    <a:gd name="T23" fmla="*/ 182 h 610"/>
                    <a:gd name="T24" fmla="*/ 101 w 546"/>
                    <a:gd name="T25" fmla="*/ 156 h 610"/>
                    <a:gd name="T26" fmla="*/ 165 w 546"/>
                    <a:gd name="T27" fmla="*/ 123 h 610"/>
                    <a:gd name="T28" fmla="*/ 271 w 546"/>
                    <a:gd name="T29" fmla="*/ 90 h 610"/>
                    <a:gd name="T30" fmla="*/ 366 w 546"/>
                    <a:gd name="T31" fmla="*/ 61 h 610"/>
                    <a:gd name="T32" fmla="*/ 465 w 546"/>
                    <a:gd name="T33" fmla="*/ 6 h 610"/>
                    <a:gd name="T34" fmla="*/ 485 w 546"/>
                    <a:gd name="T35" fmla="*/ 0 h 610"/>
                    <a:gd name="T36" fmla="*/ 506 w 546"/>
                    <a:gd name="T37" fmla="*/ 7 h 610"/>
                    <a:gd name="T38" fmla="*/ 520 w 546"/>
                    <a:gd name="T39" fmla="*/ 33 h 610"/>
                    <a:gd name="T40" fmla="*/ 538 w 546"/>
                    <a:gd name="T41" fmla="*/ 96 h 610"/>
                    <a:gd name="T42" fmla="*/ 546 w 546"/>
                    <a:gd name="T43" fmla="*/ 183 h 610"/>
                    <a:gd name="T44" fmla="*/ 531 w 546"/>
                    <a:gd name="T45" fmla="*/ 327 h 610"/>
                    <a:gd name="T46" fmla="*/ 488 w 546"/>
                    <a:gd name="T47" fmla="*/ 453 h 610"/>
                    <a:gd name="T48" fmla="*/ 451 w 546"/>
                    <a:gd name="T49" fmla="*/ 513 h 610"/>
                    <a:gd name="T50" fmla="*/ 401 w 546"/>
                    <a:gd name="T51" fmla="*/ 560 h 610"/>
                    <a:gd name="T52" fmla="*/ 334 w 546"/>
                    <a:gd name="T53" fmla="*/ 598 h 610"/>
                    <a:gd name="T54" fmla="*/ 289 w 546"/>
                    <a:gd name="T55" fmla="*/ 609 h 610"/>
                    <a:gd name="T56" fmla="*/ 139 w 546"/>
                    <a:gd name="T57" fmla="*/ 212 h 610"/>
                    <a:gd name="T58" fmla="*/ 96 w 546"/>
                    <a:gd name="T59" fmla="*/ 249 h 610"/>
                    <a:gd name="T60" fmla="*/ 67 w 546"/>
                    <a:gd name="T61" fmla="*/ 304 h 610"/>
                    <a:gd name="T62" fmla="*/ 68 w 546"/>
                    <a:gd name="T63" fmla="*/ 334 h 610"/>
                    <a:gd name="T64" fmla="*/ 81 w 546"/>
                    <a:gd name="T65" fmla="*/ 365 h 610"/>
                    <a:gd name="T66" fmla="*/ 126 w 546"/>
                    <a:gd name="T67" fmla="*/ 413 h 610"/>
                    <a:gd name="T68" fmla="*/ 146 w 546"/>
                    <a:gd name="T69" fmla="*/ 428 h 610"/>
                    <a:gd name="T70" fmla="*/ 160 w 546"/>
                    <a:gd name="T71" fmla="*/ 458 h 610"/>
                    <a:gd name="T72" fmla="*/ 207 w 546"/>
                    <a:gd name="T73" fmla="*/ 522 h 610"/>
                    <a:gd name="T74" fmla="*/ 235 w 546"/>
                    <a:gd name="T75" fmla="*/ 539 h 610"/>
                    <a:gd name="T76" fmla="*/ 259 w 546"/>
                    <a:gd name="T77" fmla="*/ 544 h 610"/>
                    <a:gd name="T78" fmla="*/ 299 w 546"/>
                    <a:gd name="T79" fmla="*/ 540 h 610"/>
                    <a:gd name="T80" fmla="*/ 347 w 546"/>
                    <a:gd name="T81" fmla="*/ 517 h 610"/>
                    <a:gd name="T82" fmla="*/ 395 w 546"/>
                    <a:gd name="T83" fmla="*/ 477 h 610"/>
                    <a:gd name="T84" fmla="*/ 440 w 546"/>
                    <a:gd name="T85" fmla="*/ 404 h 610"/>
                    <a:gd name="T86" fmla="*/ 469 w 546"/>
                    <a:gd name="T87" fmla="*/ 302 h 610"/>
                    <a:gd name="T88" fmla="*/ 480 w 546"/>
                    <a:gd name="T89" fmla="*/ 189 h 610"/>
                    <a:gd name="T90" fmla="*/ 468 w 546"/>
                    <a:gd name="T91" fmla="*/ 84 h 610"/>
                    <a:gd name="T92" fmla="*/ 397 w 546"/>
                    <a:gd name="T93" fmla="*/ 120 h 610"/>
                    <a:gd name="T94" fmla="*/ 288 w 546"/>
                    <a:gd name="T95" fmla="*/ 154 h 610"/>
                    <a:gd name="T96" fmla="*/ 211 w 546"/>
                    <a:gd name="T97" fmla="*/ 176 h 610"/>
                    <a:gd name="T98" fmla="*/ 139 w 546"/>
                    <a:gd name="T99" fmla="*/ 212 h 6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46" h="610">
                      <a:moveTo>
                        <a:pt x="266" y="610"/>
                      </a:moveTo>
                      <a:lnTo>
                        <a:pt x="266" y="610"/>
                      </a:lnTo>
                      <a:lnTo>
                        <a:pt x="251" y="610"/>
                      </a:lnTo>
                      <a:lnTo>
                        <a:pt x="237" y="608"/>
                      </a:lnTo>
                      <a:lnTo>
                        <a:pt x="237" y="608"/>
                      </a:lnTo>
                      <a:lnTo>
                        <a:pt x="220" y="604"/>
                      </a:lnTo>
                      <a:lnTo>
                        <a:pt x="203" y="597"/>
                      </a:lnTo>
                      <a:lnTo>
                        <a:pt x="193" y="593"/>
                      </a:lnTo>
                      <a:lnTo>
                        <a:pt x="184" y="587"/>
                      </a:lnTo>
                      <a:lnTo>
                        <a:pt x="175" y="580"/>
                      </a:lnTo>
                      <a:lnTo>
                        <a:pt x="164" y="573"/>
                      </a:lnTo>
                      <a:lnTo>
                        <a:pt x="155" y="565"/>
                      </a:lnTo>
                      <a:lnTo>
                        <a:pt x="146" y="556"/>
                      </a:lnTo>
                      <a:lnTo>
                        <a:pt x="136" y="544"/>
                      </a:lnTo>
                      <a:lnTo>
                        <a:pt x="127" y="533"/>
                      </a:lnTo>
                      <a:lnTo>
                        <a:pt x="118" y="519"/>
                      </a:lnTo>
                      <a:lnTo>
                        <a:pt x="110" y="504"/>
                      </a:lnTo>
                      <a:lnTo>
                        <a:pt x="101" y="488"/>
                      </a:lnTo>
                      <a:lnTo>
                        <a:pt x="93" y="471"/>
                      </a:lnTo>
                      <a:lnTo>
                        <a:pt x="93" y="471"/>
                      </a:lnTo>
                      <a:lnTo>
                        <a:pt x="80" y="460"/>
                      </a:lnTo>
                      <a:lnTo>
                        <a:pt x="67" y="450"/>
                      </a:lnTo>
                      <a:lnTo>
                        <a:pt x="56" y="440"/>
                      </a:lnTo>
                      <a:lnTo>
                        <a:pt x="46" y="429"/>
                      </a:lnTo>
                      <a:lnTo>
                        <a:pt x="37" y="419"/>
                      </a:lnTo>
                      <a:lnTo>
                        <a:pt x="30" y="409"/>
                      </a:lnTo>
                      <a:lnTo>
                        <a:pt x="24" y="398"/>
                      </a:lnTo>
                      <a:lnTo>
                        <a:pt x="17" y="388"/>
                      </a:lnTo>
                      <a:lnTo>
                        <a:pt x="13" y="379"/>
                      </a:lnTo>
                      <a:lnTo>
                        <a:pt x="9" y="369"/>
                      </a:lnTo>
                      <a:lnTo>
                        <a:pt x="6" y="360"/>
                      </a:lnTo>
                      <a:lnTo>
                        <a:pt x="4" y="351"/>
                      </a:lnTo>
                      <a:lnTo>
                        <a:pt x="1" y="333"/>
                      </a:lnTo>
                      <a:lnTo>
                        <a:pt x="0" y="318"/>
                      </a:lnTo>
                      <a:lnTo>
                        <a:pt x="0" y="318"/>
                      </a:lnTo>
                      <a:lnTo>
                        <a:pt x="1" y="307"/>
                      </a:lnTo>
                      <a:lnTo>
                        <a:pt x="2" y="296"/>
                      </a:lnTo>
                      <a:lnTo>
                        <a:pt x="4" y="284"/>
                      </a:lnTo>
                      <a:lnTo>
                        <a:pt x="7" y="274"/>
                      </a:lnTo>
                      <a:lnTo>
                        <a:pt x="10" y="263"/>
                      </a:lnTo>
                      <a:lnTo>
                        <a:pt x="15" y="252"/>
                      </a:lnTo>
                      <a:lnTo>
                        <a:pt x="21" y="241"/>
                      </a:lnTo>
                      <a:lnTo>
                        <a:pt x="27" y="231"/>
                      </a:lnTo>
                      <a:lnTo>
                        <a:pt x="34" y="220"/>
                      </a:lnTo>
                      <a:lnTo>
                        <a:pt x="41" y="211"/>
                      </a:lnTo>
                      <a:lnTo>
                        <a:pt x="50" y="201"/>
                      </a:lnTo>
                      <a:lnTo>
                        <a:pt x="59" y="191"/>
                      </a:lnTo>
                      <a:lnTo>
                        <a:pt x="68" y="182"/>
                      </a:lnTo>
                      <a:lnTo>
                        <a:pt x="79" y="174"/>
                      </a:lnTo>
                      <a:lnTo>
                        <a:pt x="90" y="164"/>
                      </a:lnTo>
                      <a:lnTo>
                        <a:pt x="101" y="156"/>
                      </a:lnTo>
                      <a:lnTo>
                        <a:pt x="101" y="156"/>
                      </a:lnTo>
                      <a:lnTo>
                        <a:pt x="101" y="156"/>
                      </a:lnTo>
                      <a:lnTo>
                        <a:pt x="123" y="144"/>
                      </a:lnTo>
                      <a:lnTo>
                        <a:pt x="144" y="132"/>
                      </a:lnTo>
                      <a:lnTo>
                        <a:pt x="165" y="123"/>
                      </a:lnTo>
                      <a:lnTo>
                        <a:pt x="186" y="115"/>
                      </a:lnTo>
                      <a:lnTo>
                        <a:pt x="208" y="107"/>
                      </a:lnTo>
                      <a:lnTo>
                        <a:pt x="229" y="101"/>
                      </a:lnTo>
                      <a:lnTo>
                        <a:pt x="271" y="90"/>
                      </a:lnTo>
                      <a:lnTo>
                        <a:pt x="271" y="90"/>
                      </a:lnTo>
                      <a:lnTo>
                        <a:pt x="318" y="77"/>
                      </a:lnTo>
                      <a:lnTo>
                        <a:pt x="341" y="69"/>
                      </a:lnTo>
                      <a:lnTo>
                        <a:pt x="366" y="61"/>
                      </a:lnTo>
                      <a:lnTo>
                        <a:pt x="390" y="51"/>
                      </a:lnTo>
                      <a:lnTo>
                        <a:pt x="415" y="38"/>
                      </a:lnTo>
                      <a:lnTo>
                        <a:pt x="440" y="24"/>
                      </a:lnTo>
                      <a:lnTo>
                        <a:pt x="465" y="6"/>
                      </a:lnTo>
                      <a:lnTo>
                        <a:pt x="465" y="6"/>
                      </a:lnTo>
                      <a:lnTo>
                        <a:pt x="471" y="3"/>
                      </a:lnTo>
                      <a:lnTo>
                        <a:pt x="478" y="1"/>
                      </a:lnTo>
                      <a:lnTo>
                        <a:pt x="485" y="0"/>
                      </a:lnTo>
                      <a:lnTo>
                        <a:pt x="492" y="1"/>
                      </a:lnTo>
                      <a:lnTo>
                        <a:pt x="492" y="1"/>
                      </a:lnTo>
                      <a:lnTo>
                        <a:pt x="500" y="3"/>
                      </a:lnTo>
                      <a:lnTo>
                        <a:pt x="506" y="7"/>
                      </a:lnTo>
                      <a:lnTo>
                        <a:pt x="511" y="12"/>
                      </a:lnTo>
                      <a:lnTo>
                        <a:pt x="514" y="19"/>
                      </a:lnTo>
                      <a:lnTo>
                        <a:pt x="514" y="19"/>
                      </a:lnTo>
                      <a:lnTo>
                        <a:pt x="520" y="33"/>
                      </a:lnTo>
                      <a:lnTo>
                        <a:pt x="526" y="49"/>
                      </a:lnTo>
                      <a:lnTo>
                        <a:pt x="531" y="63"/>
                      </a:lnTo>
                      <a:lnTo>
                        <a:pt x="535" y="80"/>
                      </a:lnTo>
                      <a:lnTo>
                        <a:pt x="538" y="96"/>
                      </a:lnTo>
                      <a:lnTo>
                        <a:pt x="541" y="113"/>
                      </a:lnTo>
                      <a:lnTo>
                        <a:pt x="543" y="129"/>
                      </a:lnTo>
                      <a:lnTo>
                        <a:pt x="545" y="147"/>
                      </a:lnTo>
                      <a:lnTo>
                        <a:pt x="546" y="183"/>
                      </a:lnTo>
                      <a:lnTo>
                        <a:pt x="545" y="218"/>
                      </a:lnTo>
                      <a:lnTo>
                        <a:pt x="543" y="255"/>
                      </a:lnTo>
                      <a:lnTo>
                        <a:pt x="538" y="291"/>
                      </a:lnTo>
                      <a:lnTo>
                        <a:pt x="531" y="327"/>
                      </a:lnTo>
                      <a:lnTo>
                        <a:pt x="522" y="361"/>
                      </a:lnTo>
                      <a:lnTo>
                        <a:pt x="513" y="394"/>
                      </a:lnTo>
                      <a:lnTo>
                        <a:pt x="502" y="425"/>
                      </a:lnTo>
                      <a:lnTo>
                        <a:pt x="488" y="453"/>
                      </a:lnTo>
                      <a:lnTo>
                        <a:pt x="475" y="480"/>
                      </a:lnTo>
                      <a:lnTo>
                        <a:pt x="468" y="491"/>
                      </a:lnTo>
                      <a:lnTo>
                        <a:pt x="459" y="503"/>
                      </a:lnTo>
                      <a:lnTo>
                        <a:pt x="451" y="513"/>
                      </a:lnTo>
                      <a:lnTo>
                        <a:pt x="443" y="522"/>
                      </a:lnTo>
                      <a:lnTo>
                        <a:pt x="443" y="522"/>
                      </a:lnTo>
                      <a:lnTo>
                        <a:pt x="422" y="542"/>
                      </a:lnTo>
                      <a:lnTo>
                        <a:pt x="401" y="560"/>
                      </a:lnTo>
                      <a:lnTo>
                        <a:pt x="379" y="575"/>
                      </a:lnTo>
                      <a:lnTo>
                        <a:pt x="357" y="588"/>
                      </a:lnTo>
                      <a:lnTo>
                        <a:pt x="346" y="593"/>
                      </a:lnTo>
                      <a:lnTo>
                        <a:pt x="334" y="598"/>
                      </a:lnTo>
                      <a:lnTo>
                        <a:pt x="323" y="601"/>
                      </a:lnTo>
                      <a:lnTo>
                        <a:pt x="311" y="605"/>
                      </a:lnTo>
                      <a:lnTo>
                        <a:pt x="300" y="607"/>
                      </a:lnTo>
                      <a:lnTo>
                        <a:pt x="289" y="609"/>
                      </a:lnTo>
                      <a:lnTo>
                        <a:pt x="277" y="610"/>
                      </a:lnTo>
                      <a:lnTo>
                        <a:pt x="266" y="610"/>
                      </a:lnTo>
                      <a:lnTo>
                        <a:pt x="266" y="610"/>
                      </a:lnTo>
                      <a:close/>
                      <a:moveTo>
                        <a:pt x="139" y="212"/>
                      </a:moveTo>
                      <a:lnTo>
                        <a:pt x="139" y="212"/>
                      </a:lnTo>
                      <a:lnTo>
                        <a:pt x="122" y="223"/>
                      </a:lnTo>
                      <a:lnTo>
                        <a:pt x="107" y="236"/>
                      </a:lnTo>
                      <a:lnTo>
                        <a:pt x="96" y="249"/>
                      </a:lnTo>
                      <a:lnTo>
                        <a:pt x="86" y="263"/>
                      </a:lnTo>
                      <a:lnTo>
                        <a:pt x="77" y="276"/>
                      </a:lnTo>
                      <a:lnTo>
                        <a:pt x="71" y="291"/>
                      </a:lnTo>
                      <a:lnTo>
                        <a:pt x="67" y="304"/>
                      </a:lnTo>
                      <a:lnTo>
                        <a:pt x="66" y="319"/>
                      </a:lnTo>
                      <a:lnTo>
                        <a:pt x="66" y="319"/>
                      </a:lnTo>
                      <a:lnTo>
                        <a:pt x="66" y="327"/>
                      </a:lnTo>
                      <a:lnTo>
                        <a:pt x="68" y="334"/>
                      </a:lnTo>
                      <a:lnTo>
                        <a:pt x="70" y="342"/>
                      </a:lnTo>
                      <a:lnTo>
                        <a:pt x="72" y="350"/>
                      </a:lnTo>
                      <a:lnTo>
                        <a:pt x="76" y="358"/>
                      </a:lnTo>
                      <a:lnTo>
                        <a:pt x="81" y="365"/>
                      </a:lnTo>
                      <a:lnTo>
                        <a:pt x="90" y="379"/>
                      </a:lnTo>
                      <a:lnTo>
                        <a:pt x="101" y="391"/>
                      </a:lnTo>
                      <a:lnTo>
                        <a:pt x="113" y="402"/>
                      </a:lnTo>
                      <a:lnTo>
                        <a:pt x="126" y="413"/>
                      </a:lnTo>
                      <a:lnTo>
                        <a:pt x="139" y="421"/>
                      </a:lnTo>
                      <a:lnTo>
                        <a:pt x="139" y="421"/>
                      </a:lnTo>
                      <a:lnTo>
                        <a:pt x="142" y="424"/>
                      </a:lnTo>
                      <a:lnTo>
                        <a:pt x="146" y="428"/>
                      </a:lnTo>
                      <a:lnTo>
                        <a:pt x="148" y="432"/>
                      </a:lnTo>
                      <a:lnTo>
                        <a:pt x="151" y="437"/>
                      </a:lnTo>
                      <a:lnTo>
                        <a:pt x="151" y="437"/>
                      </a:lnTo>
                      <a:lnTo>
                        <a:pt x="160" y="458"/>
                      </a:lnTo>
                      <a:lnTo>
                        <a:pt x="171" y="479"/>
                      </a:lnTo>
                      <a:lnTo>
                        <a:pt x="182" y="496"/>
                      </a:lnTo>
                      <a:lnTo>
                        <a:pt x="194" y="510"/>
                      </a:lnTo>
                      <a:lnTo>
                        <a:pt x="207" y="522"/>
                      </a:lnTo>
                      <a:lnTo>
                        <a:pt x="214" y="528"/>
                      </a:lnTo>
                      <a:lnTo>
                        <a:pt x="220" y="532"/>
                      </a:lnTo>
                      <a:lnTo>
                        <a:pt x="228" y="536"/>
                      </a:lnTo>
                      <a:lnTo>
                        <a:pt x="235" y="539"/>
                      </a:lnTo>
                      <a:lnTo>
                        <a:pt x="242" y="541"/>
                      </a:lnTo>
                      <a:lnTo>
                        <a:pt x="249" y="543"/>
                      </a:lnTo>
                      <a:lnTo>
                        <a:pt x="249" y="543"/>
                      </a:lnTo>
                      <a:lnTo>
                        <a:pt x="259" y="544"/>
                      </a:lnTo>
                      <a:lnTo>
                        <a:pt x="269" y="544"/>
                      </a:lnTo>
                      <a:lnTo>
                        <a:pt x="278" y="544"/>
                      </a:lnTo>
                      <a:lnTo>
                        <a:pt x="289" y="542"/>
                      </a:lnTo>
                      <a:lnTo>
                        <a:pt x="299" y="540"/>
                      </a:lnTo>
                      <a:lnTo>
                        <a:pt x="308" y="537"/>
                      </a:lnTo>
                      <a:lnTo>
                        <a:pt x="319" y="533"/>
                      </a:lnTo>
                      <a:lnTo>
                        <a:pt x="328" y="528"/>
                      </a:lnTo>
                      <a:lnTo>
                        <a:pt x="347" y="517"/>
                      </a:lnTo>
                      <a:lnTo>
                        <a:pt x="364" y="505"/>
                      </a:lnTo>
                      <a:lnTo>
                        <a:pt x="381" y="490"/>
                      </a:lnTo>
                      <a:lnTo>
                        <a:pt x="395" y="477"/>
                      </a:lnTo>
                      <a:lnTo>
                        <a:pt x="395" y="477"/>
                      </a:lnTo>
                      <a:lnTo>
                        <a:pt x="408" y="462"/>
                      </a:lnTo>
                      <a:lnTo>
                        <a:pt x="419" y="445"/>
                      </a:lnTo>
                      <a:lnTo>
                        <a:pt x="429" y="425"/>
                      </a:lnTo>
                      <a:lnTo>
                        <a:pt x="440" y="404"/>
                      </a:lnTo>
                      <a:lnTo>
                        <a:pt x="448" y="381"/>
                      </a:lnTo>
                      <a:lnTo>
                        <a:pt x="456" y="356"/>
                      </a:lnTo>
                      <a:lnTo>
                        <a:pt x="463" y="330"/>
                      </a:lnTo>
                      <a:lnTo>
                        <a:pt x="469" y="302"/>
                      </a:lnTo>
                      <a:lnTo>
                        <a:pt x="474" y="274"/>
                      </a:lnTo>
                      <a:lnTo>
                        <a:pt x="477" y="246"/>
                      </a:lnTo>
                      <a:lnTo>
                        <a:pt x="480" y="218"/>
                      </a:lnTo>
                      <a:lnTo>
                        <a:pt x="480" y="189"/>
                      </a:lnTo>
                      <a:lnTo>
                        <a:pt x="480" y="162"/>
                      </a:lnTo>
                      <a:lnTo>
                        <a:pt x="477" y="134"/>
                      </a:lnTo>
                      <a:lnTo>
                        <a:pt x="474" y="109"/>
                      </a:lnTo>
                      <a:lnTo>
                        <a:pt x="468" y="84"/>
                      </a:lnTo>
                      <a:lnTo>
                        <a:pt x="468" y="84"/>
                      </a:lnTo>
                      <a:lnTo>
                        <a:pt x="444" y="98"/>
                      </a:lnTo>
                      <a:lnTo>
                        <a:pt x="420" y="110"/>
                      </a:lnTo>
                      <a:lnTo>
                        <a:pt x="397" y="120"/>
                      </a:lnTo>
                      <a:lnTo>
                        <a:pt x="374" y="128"/>
                      </a:lnTo>
                      <a:lnTo>
                        <a:pt x="352" y="136"/>
                      </a:lnTo>
                      <a:lnTo>
                        <a:pt x="330" y="143"/>
                      </a:lnTo>
                      <a:lnTo>
                        <a:pt x="288" y="154"/>
                      </a:lnTo>
                      <a:lnTo>
                        <a:pt x="288" y="154"/>
                      </a:lnTo>
                      <a:lnTo>
                        <a:pt x="248" y="164"/>
                      </a:lnTo>
                      <a:lnTo>
                        <a:pt x="230" y="170"/>
                      </a:lnTo>
                      <a:lnTo>
                        <a:pt x="211" y="176"/>
                      </a:lnTo>
                      <a:lnTo>
                        <a:pt x="192" y="183"/>
                      </a:lnTo>
                      <a:lnTo>
                        <a:pt x="174" y="191"/>
                      </a:lnTo>
                      <a:lnTo>
                        <a:pt x="156" y="201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Freeform 120">
                  <a:extLst>
                    <a:ext uri="{FF2B5EF4-FFF2-40B4-BE49-F238E27FC236}">
                      <a16:creationId xmlns:a16="http://schemas.microsoft.com/office/drawing/2014/main" id="{1BD9B76F-C012-49B3-83BB-FC9D1E326D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64550" y="1825625"/>
                  <a:ext cx="161925" cy="190500"/>
                </a:xfrm>
                <a:custGeom>
                  <a:avLst/>
                  <a:gdLst>
                    <a:gd name="T0" fmla="*/ 320 w 718"/>
                    <a:gd name="T1" fmla="*/ 840 h 842"/>
                    <a:gd name="T2" fmla="*/ 262 w 718"/>
                    <a:gd name="T3" fmla="*/ 822 h 842"/>
                    <a:gd name="T4" fmla="*/ 203 w 718"/>
                    <a:gd name="T5" fmla="*/ 787 h 842"/>
                    <a:gd name="T6" fmla="*/ 145 w 718"/>
                    <a:gd name="T7" fmla="*/ 735 h 842"/>
                    <a:gd name="T8" fmla="*/ 105 w 718"/>
                    <a:gd name="T9" fmla="*/ 690 h 842"/>
                    <a:gd name="T10" fmla="*/ 67 w 718"/>
                    <a:gd name="T11" fmla="*/ 625 h 842"/>
                    <a:gd name="T12" fmla="*/ 37 w 718"/>
                    <a:gd name="T13" fmla="*/ 547 h 842"/>
                    <a:gd name="T14" fmla="*/ 15 w 718"/>
                    <a:gd name="T15" fmla="*/ 456 h 842"/>
                    <a:gd name="T16" fmla="*/ 3 w 718"/>
                    <a:gd name="T17" fmla="*/ 359 h 842"/>
                    <a:gd name="T18" fmla="*/ 1 w 718"/>
                    <a:gd name="T19" fmla="*/ 261 h 842"/>
                    <a:gd name="T20" fmla="*/ 10 w 718"/>
                    <a:gd name="T21" fmla="*/ 166 h 842"/>
                    <a:gd name="T22" fmla="*/ 32 w 718"/>
                    <a:gd name="T23" fmla="*/ 77 h 842"/>
                    <a:gd name="T24" fmla="*/ 57 w 718"/>
                    <a:gd name="T25" fmla="*/ 18 h 842"/>
                    <a:gd name="T26" fmla="*/ 80 w 718"/>
                    <a:gd name="T27" fmla="*/ 1 h 842"/>
                    <a:gd name="T28" fmla="*/ 101 w 718"/>
                    <a:gd name="T29" fmla="*/ 5 h 842"/>
                    <a:gd name="T30" fmla="*/ 138 w 718"/>
                    <a:gd name="T31" fmla="*/ 31 h 842"/>
                    <a:gd name="T32" fmla="*/ 202 w 718"/>
                    <a:gd name="T33" fmla="*/ 70 h 842"/>
                    <a:gd name="T34" fmla="*/ 333 w 718"/>
                    <a:gd name="T35" fmla="*/ 119 h 842"/>
                    <a:gd name="T36" fmla="*/ 439 w 718"/>
                    <a:gd name="T37" fmla="*/ 152 h 842"/>
                    <a:gd name="T38" fmla="*/ 523 w 718"/>
                    <a:gd name="T39" fmla="*/ 188 h 842"/>
                    <a:gd name="T40" fmla="*/ 585 w 718"/>
                    <a:gd name="T41" fmla="*/ 228 h 842"/>
                    <a:gd name="T42" fmla="*/ 627 w 718"/>
                    <a:gd name="T43" fmla="*/ 269 h 842"/>
                    <a:gd name="T44" fmla="*/ 664 w 718"/>
                    <a:gd name="T45" fmla="*/ 317 h 842"/>
                    <a:gd name="T46" fmla="*/ 698 w 718"/>
                    <a:gd name="T47" fmla="*/ 380 h 842"/>
                    <a:gd name="T48" fmla="*/ 715 w 718"/>
                    <a:gd name="T49" fmla="*/ 440 h 842"/>
                    <a:gd name="T50" fmla="*/ 716 w 718"/>
                    <a:gd name="T51" fmla="*/ 498 h 842"/>
                    <a:gd name="T52" fmla="*/ 705 w 718"/>
                    <a:gd name="T53" fmla="*/ 537 h 842"/>
                    <a:gd name="T54" fmla="*/ 678 w 718"/>
                    <a:gd name="T55" fmla="*/ 585 h 842"/>
                    <a:gd name="T56" fmla="*/ 635 w 718"/>
                    <a:gd name="T57" fmla="*/ 628 h 842"/>
                    <a:gd name="T58" fmla="*/ 577 w 718"/>
                    <a:gd name="T59" fmla="*/ 667 h 842"/>
                    <a:gd name="T60" fmla="*/ 534 w 718"/>
                    <a:gd name="T61" fmla="*/ 701 h 842"/>
                    <a:gd name="T62" fmla="*/ 498 w 718"/>
                    <a:gd name="T63" fmla="*/ 760 h 842"/>
                    <a:gd name="T64" fmla="*/ 455 w 718"/>
                    <a:gd name="T65" fmla="*/ 802 h 842"/>
                    <a:gd name="T66" fmla="*/ 409 w 718"/>
                    <a:gd name="T67" fmla="*/ 830 h 842"/>
                    <a:gd name="T68" fmla="*/ 371 w 718"/>
                    <a:gd name="T69" fmla="*/ 840 h 842"/>
                    <a:gd name="T70" fmla="*/ 99 w 718"/>
                    <a:gd name="T71" fmla="*/ 85 h 842"/>
                    <a:gd name="T72" fmla="*/ 83 w 718"/>
                    <a:gd name="T73" fmla="*/ 138 h 842"/>
                    <a:gd name="T74" fmla="*/ 68 w 718"/>
                    <a:gd name="T75" fmla="*/ 235 h 842"/>
                    <a:gd name="T76" fmla="*/ 72 w 718"/>
                    <a:gd name="T77" fmla="*/ 399 h 842"/>
                    <a:gd name="T78" fmla="*/ 107 w 718"/>
                    <a:gd name="T79" fmla="*/ 550 h 842"/>
                    <a:gd name="T80" fmla="*/ 142 w 718"/>
                    <a:gd name="T81" fmla="*/ 625 h 842"/>
                    <a:gd name="T82" fmla="*/ 165 w 718"/>
                    <a:gd name="T83" fmla="*/ 661 h 842"/>
                    <a:gd name="T84" fmla="*/ 217 w 718"/>
                    <a:gd name="T85" fmla="*/ 713 h 842"/>
                    <a:gd name="T86" fmla="*/ 269 w 718"/>
                    <a:gd name="T87" fmla="*/ 751 h 842"/>
                    <a:gd name="T88" fmla="*/ 317 w 718"/>
                    <a:gd name="T89" fmla="*/ 771 h 842"/>
                    <a:gd name="T90" fmla="*/ 362 w 718"/>
                    <a:gd name="T91" fmla="*/ 774 h 842"/>
                    <a:gd name="T92" fmla="*/ 388 w 718"/>
                    <a:gd name="T93" fmla="*/ 767 h 842"/>
                    <a:gd name="T94" fmla="*/ 422 w 718"/>
                    <a:gd name="T95" fmla="*/ 744 h 842"/>
                    <a:gd name="T96" fmla="*/ 460 w 718"/>
                    <a:gd name="T97" fmla="*/ 698 h 842"/>
                    <a:gd name="T98" fmla="*/ 490 w 718"/>
                    <a:gd name="T99" fmla="*/ 640 h 842"/>
                    <a:gd name="T100" fmla="*/ 505 w 718"/>
                    <a:gd name="T101" fmla="*/ 628 h 842"/>
                    <a:gd name="T102" fmla="*/ 594 w 718"/>
                    <a:gd name="T103" fmla="*/ 577 h 842"/>
                    <a:gd name="T104" fmla="*/ 627 w 718"/>
                    <a:gd name="T105" fmla="*/ 543 h 842"/>
                    <a:gd name="T106" fmla="*/ 646 w 718"/>
                    <a:gd name="T107" fmla="*/ 506 h 842"/>
                    <a:gd name="T108" fmla="*/ 652 w 718"/>
                    <a:gd name="T109" fmla="*/ 472 h 842"/>
                    <a:gd name="T110" fmla="*/ 643 w 718"/>
                    <a:gd name="T111" fmla="*/ 423 h 842"/>
                    <a:gd name="T112" fmla="*/ 622 w 718"/>
                    <a:gd name="T113" fmla="*/ 374 h 842"/>
                    <a:gd name="T114" fmla="*/ 576 w 718"/>
                    <a:gd name="T115" fmla="*/ 312 h 842"/>
                    <a:gd name="T116" fmla="*/ 542 w 718"/>
                    <a:gd name="T117" fmla="*/ 279 h 842"/>
                    <a:gd name="T118" fmla="*/ 489 w 718"/>
                    <a:gd name="T119" fmla="*/ 245 h 842"/>
                    <a:gd name="T120" fmla="*/ 381 w 718"/>
                    <a:gd name="T121" fmla="*/ 203 h 842"/>
                    <a:gd name="T122" fmla="*/ 255 w 718"/>
                    <a:gd name="T123" fmla="*/ 164 h 842"/>
                    <a:gd name="T124" fmla="*/ 130 w 718"/>
                    <a:gd name="T125" fmla="*/ 106 h 8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18" h="842">
                      <a:moveTo>
                        <a:pt x="347" y="842"/>
                      </a:moveTo>
                      <a:lnTo>
                        <a:pt x="347" y="842"/>
                      </a:lnTo>
                      <a:lnTo>
                        <a:pt x="334" y="841"/>
                      </a:lnTo>
                      <a:lnTo>
                        <a:pt x="320" y="840"/>
                      </a:lnTo>
                      <a:lnTo>
                        <a:pt x="305" y="836"/>
                      </a:lnTo>
                      <a:lnTo>
                        <a:pt x="291" y="832"/>
                      </a:lnTo>
                      <a:lnTo>
                        <a:pt x="276" y="827"/>
                      </a:lnTo>
                      <a:lnTo>
                        <a:pt x="262" y="822"/>
                      </a:lnTo>
                      <a:lnTo>
                        <a:pt x="247" y="815"/>
                      </a:lnTo>
                      <a:lnTo>
                        <a:pt x="233" y="806"/>
                      </a:lnTo>
                      <a:lnTo>
                        <a:pt x="217" y="797"/>
                      </a:lnTo>
                      <a:lnTo>
                        <a:pt x="203" y="787"/>
                      </a:lnTo>
                      <a:lnTo>
                        <a:pt x="188" y="775"/>
                      </a:lnTo>
                      <a:lnTo>
                        <a:pt x="174" y="763"/>
                      </a:lnTo>
                      <a:lnTo>
                        <a:pt x="159" y="750"/>
                      </a:lnTo>
                      <a:lnTo>
                        <a:pt x="145" y="735"/>
                      </a:lnTo>
                      <a:lnTo>
                        <a:pt x="130" y="720"/>
                      </a:lnTo>
                      <a:lnTo>
                        <a:pt x="116" y="703"/>
                      </a:lnTo>
                      <a:lnTo>
                        <a:pt x="116" y="703"/>
                      </a:lnTo>
                      <a:lnTo>
                        <a:pt x="105" y="690"/>
                      </a:lnTo>
                      <a:lnTo>
                        <a:pt x="95" y="676"/>
                      </a:lnTo>
                      <a:lnTo>
                        <a:pt x="86" y="661"/>
                      </a:lnTo>
                      <a:lnTo>
                        <a:pt x="76" y="643"/>
                      </a:lnTo>
                      <a:lnTo>
                        <a:pt x="67" y="625"/>
                      </a:lnTo>
                      <a:lnTo>
                        <a:pt x="59" y="607"/>
                      </a:lnTo>
                      <a:lnTo>
                        <a:pt x="52" y="588"/>
                      </a:lnTo>
                      <a:lnTo>
                        <a:pt x="44" y="567"/>
                      </a:lnTo>
                      <a:lnTo>
                        <a:pt x="37" y="547"/>
                      </a:lnTo>
                      <a:lnTo>
                        <a:pt x="31" y="525"/>
                      </a:lnTo>
                      <a:lnTo>
                        <a:pt x="25" y="502"/>
                      </a:lnTo>
                      <a:lnTo>
                        <a:pt x="19" y="479"/>
                      </a:lnTo>
                      <a:lnTo>
                        <a:pt x="15" y="456"/>
                      </a:lnTo>
                      <a:lnTo>
                        <a:pt x="11" y="432"/>
                      </a:lnTo>
                      <a:lnTo>
                        <a:pt x="8" y="408"/>
                      </a:lnTo>
                      <a:lnTo>
                        <a:pt x="5" y="384"/>
                      </a:lnTo>
                      <a:lnTo>
                        <a:pt x="3" y="359"/>
                      </a:lnTo>
                      <a:lnTo>
                        <a:pt x="1" y="335"/>
                      </a:lnTo>
                      <a:lnTo>
                        <a:pt x="1" y="310"/>
                      </a:lnTo>
                      <a:lnTo>
                        <a:pt x="0" y="286"/>
                      </a:lnTo>
                      <a:lnTo>
                        <a:pt x="1" y="261"/>
                      </a:lnTo>
                      <a:lnTo>
                        <a:pt x="2" y="236"/>
                      </a:lnTo>
                      <a:lnTo>
                        <a:pt x="4" y="213"/>
                      </a:lnTo>
                      <a:lnTo>
                        <a:pt x="7" y="189"/>
                      </a:lnTo>
                      <a:lnTo>
                        <a:pt x="10" y="166"/>
                      </a:lnTo>
                      <a:lnTo>
                        <a:pt x="14" y="142"/>
                      </a:lnTo>
                      <a:lnTo>
                        <a:pt x="19" y="120"/>
                      </a:lnTo>
                      <a:lnTo>
                        <a:pt x="26" y="99"/>
                      </a:lnTo>
                      <a:lnTo>
                        <a:pt x="32" y="77"/>
                      </a:lnTo>
                      <a:lnTo>
                        <a:pt x="39" y="56"/>
                      </a:lnTo>
                      <a:lnTo>
                        <a:pt x="47" y="37"/>
                      </a:lnTo>
                      <a:lnTo>
                        <a:pt x="57" y="18"/>
                      </a:lnTo>
                      <a:lnTo>
                        <a:pt x="57" y="18"/>
                      </a:lnTo>
                      <a:lnTo>
                        <a:pt x="61" y="12"/>
                      </a:lnTo>
                      <a:lnTo>
                        <a:pt x="67" y="7"/>
                      </a:lnTo>
                      <a:lnTo>
                        <a:pt x="73" y="3"/>
                      </a:lnTo>
                      <a:lnTo>
                        <a:pt x="80" y="1"/>
                      </a:lnTo>
                      <a:lnTo>
                        <a:pt x="80" y="1"/>
                      </a:lnTo>
                      <a:lnTo>
                        <a:pt x="88" y="0"/>
                      </a:lnTo>
                      <a:lnTo>
                        <a:pt x="95" y="1"/>
                      </a:lnTo>
                      <a:lnTo>
                        <a:pt x="101" y="5"/>
                      </a:lnTo>
                      <a:lnTo>
                        <a:pt x="107" y="9"/>
                      </a:lnTo>
                      <a:lnTo>
                        <a:pt x="107" y="9"/>
                      </a:lnTo>
                      <a:lnTo>
                        <a:pt x="123" y="21"/>
                      </a:lnTo>
                      <a:lnTo>
                        <a:pt x="138" y="31"/>
                      </a:lnTo>
                      <a:lnTo>
                        <a:pt x="154" y="43"/>
                      </a:lnTo>
                      <a:lnTo>
                        <a:pt x="169" y="52"/>
                      </a:lnTo>
                      <a:lnTo>
                        <a:pt x="185" y="61"/>
                      </a:lnTo>
                      <a:lnTo>
                        <a:pt x="202" y="70"/>
                      </a:lnTo>
                      <a:lnTo>
                        <a:pt x="234" y="84"/>
                      </a:lnTo>
                      <a:lnTo>
                        <a:pt x="267" y="98"/>
                      </a:lnTo>
                      <a:lnTo>
                        <a:pt x="300" y="109"/>
                      </a:lnTo>
                      <a:lnTo>
                        <a:pt x="333" y="119"/>
                      </a:lnTo>
                      <a:lnTo>
                        <a:pt x="366" y="130"/>
                      </a:lnTo>
                      <a:lnTo>
                        <a:pt x="366" y="130"/>
                      </a:lnTo>
                      <a:lnTo>
                        <a:pt x="402" y="141"/>
                      </a:lnTo>
                      <a:lnTo>
                        <a:pt x="439" y="152"/>
                      </a:lnTo>
                      <a:lnTo>
                        <a:pt x="474" y="165"/>
                      </a:lnTo>
                      <a:lnTo>
                        <a:pt x="490" y="172"/>
                      </a:lnTo>
                      <a:lnTo>
                        <a:pt x="507" y="179"/>
                      </a:lnTo>
                      <a:lnTo>
                        <a:pt x="523" y="188"/>
                      </a:lnTo>
                      <a:lnTo>
                        <a:pt x="540" y="197"/>
                      </a:lnTo>
                      <a:lnTo>
                        <a:pt x="555" y="206"/>
                      </a:lnTo>
                      <a:lnTo>
                        <a:pt x="571" y="217"/>
                      </a:lnTo>
                      <a:lnTo>
                        <a:pt x="585" y="228"/>
                      </a:lnTo>
                      <a:lnTo>
                        <a:pt x="600" y="240"/>
                      </a:lnTo>
                      <a:lnTo>
                        <a:pt x="613" y="254"/>
                      </a:lnTo>
                      <a:lnTo>
                        <a:pt x="627" y="269"/>
                      </a:lnTo>
                      <a:lnTo>
                        <a:pt x="627" y="269"/>
                      </a:lnTo>
                      <a:lnTo>
                        <a:pt x="627" y="269"/>
                      </a:lnTo>
                      <a:lnTo>
                        <a:pt x="640" y="285"/>
                      </a:lnTo>
                      <a:lnTo>
                        <a:pt x="653" y="301"/>
                      </a:lnTo>
                      <a:lnTo>
                        <a:pt x="664" y="317"/>
                      </a:lnTo>
                      <a:lnTo>
                        <a:pt x="673" y="334"/>
                      </a:lnTo>
                      <a:lnTo>
                        <a:pt x="683" y="349"/>
                      </a:lnTo>
                      <a:lnTo>
                        <a:pt x="691" y="365"/>
                      </a:lnTo>
                      <a:lnTo>
                        <a:pt x="698" y="380"/>
                      </a:lnTo>
                      <a:lnTo>
                        <a:pt x="705" y="396"/>
                      </a:lnTo>
                      <a:lnTo>
                        <a:pt x="709" y="410"/>
                      </a:lnTo>
                      <a:lnTo>
                        <a:pt x="713" y="426"/>
                      </a:lnTo>
                      <a:lnTo>
                        <a:pt x="715" y="440"/>
                      </a:lnTo>
                      <a:lnTo>
                        <a:pt x="717" y="455"/>
                      </a:lnTo>
                      <a:lnTo>
                        <a:pt x="718" y="469"/>
                      </a:lnTo>
                      <a:lnTo>
                        <a:pt x="717" y="484"/>
                      </a:lnTo>
                      <a:lnTo>
                        <a:pt x="716" y="498"/>
                      </a:lnTo>
                      <a:lnTo>
                        <a:pt x="713" y="512"/>
                      </a:lnTo>
                      <a:lnTo>
                        <a:pt x="713" y="512"/>
                      </a:lnTo>
                      <a:lnTo>
                        <a:pt x="710" y="525"/>
                      </a:lnTo>
                      <a:lnTo>
                        <a:pt x="705" y="537"/>
                      </a:lnTo>
                      <a:lnTo>
                        <a:pt x="699" y="550"/>
                      </a:lnTo>
                      <a:lnTo>
                        <a:pt x="693" y="562"/>
                      </a:lnTo>
                      <a:lnTo>
                        <a:pt x="686" y="574"/>
                      </a:lnTo>
                      <a:lnTo>
                        <a:pt x="678" y="585"/>
                      </a:lnTo>
                      <a:lnTo>
                        <a:pt x="668" y="596"/>
                      </a:lnTo>
                      <a:lnTo>
                        <a:pt x="658" y="608"/>
                      </a:lnTo>
                      <a:lnTo>
                        <a:pt x="647" y="618"/>
                      </a:lnTo>
                      <a:lnTo>
                        <a:pt x="635" y="628"/>
                      </a:lnTo>
                      <a:lnTo>
                        <a:pt x="622" y="639"/>
                      </a:lnTo>
                      <a:lnTo>
                        <a:pt x="608" y="648"/>
                      </a:lnTo>
                      <a:lnTo>
                        <a:pt x="593" y="657"/>
                      </a:lnTo>
                      <a:lnTo>
                        <a:pt x="577" y="667"/>
                      </a:lnTo>
                      <a:lnTo>
                        <a:pt x="561" y="675"/>
                      </a:lnTo>
                      <a:lnTo>
                        <a:pt x="543" y="684"/>
                      </a:lnTo>
                      <a:lnTo>
                        <a:pt x="543" y="684"/>
                      </a:lnTo>
                      <a:lnTo>
                        <a:pt x="534" y="701"/>
                      </a:lnTo>
                      <a:lnTo>
                        <a:pt x="525" y="717"/>
                      </a:lnTo>
                      <a:lnTo>
                        <a:pt x="516" y="732"/>
                      </a:lnTo>
                      <a:lnTo>
                        <a:pt x="507" y="746"/>
                      </a:lnTo>
                      <a:lnTo>
                        <a:pt x="498" y="760"/>
                      </a:lnTo>
                      <a:lnTo>
                        <a:pt x="487" y="772"/>
                      </a:lnTo>
                      <a:lnTo>
                        <a:pt x="477" y="783"/>
                      </a:lnTo>
                      <a:lnTo>
                        <a:pt x="466" y="793"/>
                      </a:lnTo>
                      <a:lnTo>
                        <a:pt x="455" y="802"/>
                      </a:lnTo>
                      <a:lnTo>
                        <a:pt x="444" y="811"/>
                      </a:lnTo>
                      <a:lnTo>
                        <a:pt x="432" y="818"/>
                      </a:lnTo>
                      <a:lnTo>
                        <a:pt x="421" y="824"/>
                      </a:lnTo>
                      <a:lnTo>
                        <a:pt x="409" y="830"/>
                      </a:lnTo>
                      <a:lnTo>
                        <a:pt x="396" y="834"/>
                      </a:lnTo>
                      <a:lnTo>
                        <a:pt x="384" y="837"/>
                      </a:lnTo>
                      <a:lnTo>
                        <a:pt x="371" y="840"/>
                      </a:lnTo>
                      <a:lnTo>
                        <a:pt x="371" y="840"/>
                      </a:lnTo>
                      <a:lnTo>
                        <a:pt x="359" y="842"/>
                      </a:lnTo>
                      <a:lnTo>
                        <a:pt x="347" y="842"/>
                      </a:lnTo>
                      <a:lnTo>
                        <a:pt x="347" y="842"/>
                      </a:lnTo>
                      <a:close/>
                      <a:moveTo>
                        <a:pt x="99" y="85"/>
                      </a:moveTo>
                      <a:lnTo>
                        <a:pt x="99" y="85"/>
                      </a:lnTo>
                      <a:lnTo>
                        <a:pt x="93" y="102"/>
                      </a:lnTo>
                      <a:lnTo>
                        <a:pt x="88" y="119"/>
                      </a:lnTo>
                      <a:lnTo>
                        <a:pt x="83" y="138"/>
                      </a:lnTo>
                      <a:lnTo>
                        <a:pt x="78" y="157"/>
                      </a:lnTo>
                      <a:lnTo>
                        <a:pt x="75" y="175"/>
                      </a:lnTo>
                      <a:lnTo>
                        <a:pt x="72" y="195"/>
                      </a:lnTo>
                      <a:lnTo>
                        <a:pt x="68" y="235"/>
                      </a:lnTo>
                      <a:lnTo>
                        <a:pt x="66" y="276"/>
                      </a:lnTo>
                      <a:lnTo>
                        <a:pt x="66" y="317"/>
                      </a:lnTo>
                      <a:lnTo>
                        <a:pt x="68" y="358"/>
                      </a:lnTo>
                      <a:lnTo>
                        <a:pt x="72" y="399"/>
                      </a:lnTo>
                      <a:lnTo>
                        <a:pt x="78" y="439"/>
                      </a:lnTo>
                      <a:lnTo>
                        <a:pt x="87" y="477"/>
                      </a:lnTo>
                      <a:lnTo>
                        <a:pt x="96" y="515"/>
                      </a:lnTo>
                      <a:lnTo>
                        <a:pt x="107" y="550"/>
                      </a:lnTo>
                      <a:lnTo>
                        <a:pt x="120" y="582"/>
                      </a:lnTo>
                      <a:lnTo>
                        <a:pt x="126" y="597"/>
                      </a:lnTo>
                      <a:lnTo>
                        <a:pt x="133" y="612"/>
                      </a:lnTo>
                      <a:lnTo>
                        <a:pt x="142" y="625"/>
                      </a:lnTo>
                      <a:lnTo>
                        <a:pt x="149" y="638"/>
                      </a:lnTo>
                      <a:lnTo>
                        <a:pt x="157" y="649"/>
                      </a:lnTo>
                      <a:lnTo>
                        <a:pt x="165" y="661"/>
                      </a:lnTo>
                      <a:lnTo>
                        <a:pt x="165" y="661"/>
                      </a:lnTo>
                      <a:lnTo>
                        <a:pt x="179" y="675"/>
                      </a:lnTo>
                      <a:lnTo>
                        <a:pt x="191" y="688"/>
                      </a:lnTo>
                      <a:lnTo>
                        <a:pt x="205" y="701"/>
                      </a:lnTo>
                      <a:lnTo>
                        <a:pt x="217" y="713"/>
                      </a:lnTo>
                      <a:lnTo>
                        <a:pt x="231" y="724"/>
                      </a:lnTo>
                      <a:lnTo>
                        <a:pt x="243" y="734"/>
                      </a:lnTo>
                      <a:lnTo>
                        <a:pt x="256" y="742"/>
                      </a:lnTo>
                      <a:lnTo>
                        <a:pt x="269" y="751"/>
                      </a:lnTo>
                      <a:lnTo>
                        <a:pt x="281" y="757"/>
                      </a:lnTo>
                      <a:lnTo>
                        <a:pt x="294" y="763"/>
                      </a:lnTo>
                      <a:lnTo>
                        <a:pt x="305" y="767"/>
                      </a:lnTo>
                      <a:lnTo>
                        <a:pt x="317" y="771"/>
                      </a:lnTo>
                      <a:lnTo>
                        <a:pt x="329" y="773"/>
                      </a:lnTo>
                      <a:lnTo>
                        <a:pt x="340" y="775"/>
                      </a:lnTo>
                      <a:lnTo>
                        <a:pt x="351" y="775"/>
                      </a:lnTo>
                      <a:lnTo>
                        <a:pt x="362" y="774"/>
                      </a:lnTo>
                      <a:lnTo>
                        <a:pt x="362" y="774"/>
                      </a:lnTo>
                      <a:lnTo>
                        <a:pt x="370" y="772"/>
                      </a:lnTo>
                      <a:lnTo>
                        <a:pt x="380" y="770"/>
                      </a:lnTo>
                      <a:lnTo>
                        <a:pt x="388" y="767"/>
                      </a:lnTo>
                      <a:lnTo>
                        <a:pt x="397" y="762"/>
                      </a:lnTo>
                      <a:lnTo>
                        <a:pt x="405" y="758"/>
                      </a:lnTo>
                      <a:lnTo>
                        <a:pt x="414" y="752"/>
                      </a:lnTo>
                      <a:lnTo>
                        <a:pt x="422" y="744"/>
                      </a:lnTo>
                      <a:lnTo>
                        <a:pt x="429" y="737"/>
                      </a:lnTo>
                      <a:lnTo>
                        <a:pt x="438" y="729"/>
                      </a:lnTo>
                      <a:lnTo>
                        <a:pt x="445" y="718"/>
                      </a:lnTo>
                      <a:lnTo>
                        <a:pt x="460" y="698"/>
                      </a:lnTo>
                      <a:lnTo>
                        <a:pt x="474" y="673"/>
                      </a:lnTo>
                      <a:lnTo>
                        <a:pt x="488" y="645"/>
                      </a:lnTo>
                      <a:lnTo>
                        <a:pt x="488" y="645"/>
                      </a:lnTo>
                      <a:lnTo>
                        <a:pt x="490" y="640"/>
                      </a:lnTo>
                      <a:lnTo>
                        <a:pt x="494" y="636"/>
                      </a:lnTo>
                      <a:lnTo>
                        <a:pt x="500" y="632"/>
                      </a:lnTo>
                      <a:lnTo>
                        <a:pt x="505" y="628"/>
                      </a:lnTo>
                      <a:lnTo>
                        <a:pt x="505" y="628"/>
                      </a:lnTo>
                      <a:lnTo>
                        <a:pt x="535" y="615"/>
                      </a:lnTo>
                      <a:lnTo>
                        <a:pt x="561" y="599"/>
                      </a:lnTo>
                      <a:lnTo>
                        <a:pt x="583" y="584"/>
                      </a:lnTo>
                      <a:lnTo>
                        <a:pt x="594" y="577"/>
                      </a:lnTo>
                      <a:lnTo>
                        <a:pt x="603" y="568"/>
                      </a:lnTo>
                      <a:lnTo>
                        <a:pt x="612" y="560"/>
                      </a:lnTo>
                      <a:lnTo>
                        <a:pt x="620" y="551"/>
                      </a:lnTo>
                      <a:lnTo>
                        <a:pt x="627" y="543"/>
                      </a:lnTo>
                      <a:lnTo>
                        <a:pt x="633" y="533"/>
                      </a:lnTo>
                      <a:lnTo>
                        <a:pt x="638" y="525"/>
                      </a:lnTo>
                      <a:lnTo>
                        <a:pt x="642" y="516"/>
                      </a:lnTo>
                      <a:lnTo>
                        <a:pt x="646" y="506"/>
                      </a:lnTo>
                      <a:lnTo>
                        <a:pt x="649" y="497"/>
                      </a:lnTo>
                      <a:lnTo>
                        <a:pt x="649" y="497"/>
                      </a:lnTo>
                      <a:lnTo>
                        <a:pt x="651" y="485"/>
                      </a:lnTo>
                      <a:lnTo>
                        <a:pt x="652" y="472"/>
                      </a:lnTo>
                      <a:lnTo>
                        <a:pt x="651" y="460"/>
                      </a:lnTo>
                      <a:lnTo>
                        <a:pt x="650" y="447"/>
                      </a:lnTo>
                      <a:lnTo>
                        <a:pt x="647" y="435"/>
                      </a:lnTo>
                      <a:lnTo>
                        <a:pt x="643" y="423"/>
                      </a:lnTo>
                      <a:lnTo>
                        <a:pt x="638" y="410"/>
                      </a:lnTo>
                      <a:lnTo>
                        <a:pt x="633" y="398"/>
                      </a:lnTo>
                      <a:lnTo>
                        <a:pt x="628" y="386"/>
                      </a:lnTo>
                      <a:lnTo>
                        <a:pt x="622" y="374"/>
                      </a:lnTo>
                      <a:lnTo>
                        <a:pt x="607" y="352"/>
                      </a:lnTo>
                      <a:lnTo>
                        <a:pt x="592" y="330"/>
                      </a:lnTo>
                      <a:lnTo>
                        <a:pt x="576" y="312"/>
                      </a:lnTo>
                      <a:lnTo>
                        <a:pt x="576" y="312"/>
                      </a:lnTo>
                      <a:lnTo>
                        <a:pt x="576" y="312"/>
                      </a:lnTo>
                      <a:lnTo>
                        <a:pt x="566" y="299"/>
                      </a:lnTo>
                      <a:lnTo>
                        <a:pt x="554" y="289"/>
                      </a:lnTo>
                      <a:lnTo>
                        <a:pt x="542" y="279"/>
                      </a:lnTo>
                      <a:lnTo>
                        <a:pt x="530" y="269"/>
                      </a:lnTo>
                      <a:lnTo>
                        <a:pt x="517" y="260"/>
                      </a:lnTo>
                      <a:lnTo>
                        <a:pt x="504" y="252"/>
                      </a:lnTo>
                      <a:lnTo>
                        <a:pt x="489" y="245"/>
                      </a:lnTo>
                      <a:lnTo>
                        <a:pt x="475" y="237"/>
                      </a:lnTo>
                      <a:lnTo>
                        <a:pt x="445" y="225"/>
                      </a:lnTo>
                      <a:lnTo>
                        <a:pt x="414" y="214"/>
                      </a:lnTo>
                      <a:lnTo>
                        <a:pt x="381" y="203"/>
                      </a:lnTo>
                      <a:lnTo>
                        <a:pt x="346" y="193"/>
                      </a:lnTo>
                      <a:lnTo>
                        <a:pt x="346" y="193"/>
                      </a:lnTo>
                      <a:lnTo>
                        <a:pt x="286" y="174"/>
                      </a:lnTo>
                      <a:lnTo>
                        <a:pt x="255" y="164"/>
                      </a:lnTo>
                      <a:lnTo>
                        <a:pt x="224" y="151"/>
                      </a:lnTo>
                      <a:lnTo>
                        <a:pt x="192" y="138"/>
                      </a:lnTo>
                      <a:lnTo>
                        <a:pt x="161" y="124"/>
                      </a:lnTo>
                      <a:lnTo>
                        <a:pt x="130" y="106"/>
                      </a:lnTo>
                      <a:lnTo>
                        <a:pt x="115" y="96"/>
                      </a:lnTo>
                      <a:lnTo>
                        <a:pt x="99" y="85"/>
                      </a:lnTo>
                      <a:lnTo>
                        <a:pt x="99" y="85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Freeform 121">
                  <a:extLst>
                    <a:ext uri="{FF2B5EF4-FFF2-40B4-BE49-F238E27FC236}">
                      <a16:creationId xmlns:a16="http://schemas.microsoft.com/office/drawing/2014/main" id="{D1E754C6-7BF5-47EC-83F0-39B8DE955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0588" y="1887538"/>
                  <a:ext cx="200025" cy="192088"/>
                </a:xfrm>
                <a:custGeom>
                  <a:avLst/>
                  <a:gdLst>
                    <a:gd name="T0" fmla="*/ 504 w 879"/>
                    <a:gd name="T1" fmla="*/ 849 h 849"/>
                    <a:gd name="T2" fmla="*/ 493 w 879"/>
                    <a:gd name="T3" fmla="*/ 847 h 849"/>
                    <a:gd name="T4" fmla="*/ 481 w 879"/>
                    <a:gd name="T5" fmla="*/ 838 h 849"/>
                    <a:gd name="T6" fmla="*/ 475 w 879"/>
                    <a:gd name="T7" fmla="*/ 823 h 849"/>
                    <a:gd name="T8" fmla="*/ 462 w 879"/>
                    <a:gd name="T9" fmla="*/ 780 h 849"/>
                    <a:gd name="T10" fmla="*/ 424 w 879"/>
                    <a:gd name="T11" fmla="*/ 666 h 849"/>
                    <a:gd name="T12" fmla="*/ 365 w 879"/>
                    <a:gd name="T13" fmla="*/ 533 h 849"/>
                    <a:gd name="T14" fmla="*/ 317 w 879"/>
                    <a:gd name="T15" fmla="*/ 443 h 849"/>
                    <a:gd name="T16" fmla="*/ 259 w 879"/>
                    <a:gd name="T17" fmla="*/ 348 h 849"/>
                    <a:gd name="T18" fmla="*/ 189 w 879"/>
                    <a:gd name="T19" fmla="*/ 250 h 849"/>
                    <a:gd name="T20" fmla="*/ 106 w 879"/>
                    <a:gd name="T21" fmla="*/ 153 h 849"/>
                    <a:gd name="T22" fmla="*/ 11 w 879"/>
                    <a:gd name="T23" fmla="*/ 57 h 849"/>
                    <a:gd name="T24" fmla="*/ 3 w 879"/>
                    <a:gd name="T25" fmla="*/ 47 h 849"/>
                    <a:gd name="T26" fmla="*/ 0 w 879"/>
                    <a:gd name="T27" fmla="*/ 28 h 849"/>
                    <a:gd name="T28" fmla="*/ 8 w 879"/>
                    <a:gd name="T29" fmla="*/ 11 h 849"/>
                    <a:gd name="T30" fmla="*/ 19 w 879"/>
                    <a:gd name="T31" fmla="*/ 4 h 849"/>
                    <a:gd name="T32" fmla="*/ 38 w 879"/>
                    <a:gd name="T33" fmla="*/ 0 h 849"/>
                    <a:gd name="T34" fmla="*/ 56 w 879"/>
                    <a:gd name="T35" fmla="*/ 9 h 849"/>
                    <a:gd name="T36" fmla="*/ 106 w 879"/>
                    <a:gd name="T37" fmla="*/ 56 h 849"/>
                    <a:gd name="T38" fmla="*/ 177 w 879"/>
                    <a:gd name="T39" fmla="*/ 131 h 849"/>
                    <a:gd name="T40" fmla="*/ 240 w 879"/>
                    <a:gd name="T41" fmla="*/ 206 h 849"/>
                    <a:gd name="T42" fmla="*/ 343 w 879"/>
                    <a:gd name="T43" fmla="*/ 355 h 849"/>
                    <a:gd name="T44" fmla="*/ 422 w 879"/>
                    <a:gd name="T45" fmla="*/ 497 h 849"/>
                    <a:gd name="T46" fmla="*/ 478 w 879"/>
                    <a:gd name="T47" fmla="*/ 621 h 849"/>
                    <a:gd name="T48" fmla="*/ 514 w 879"/>
                    <a:gd name="T49" fmla="*/ 721 h 849"/>
                    <a:gd name="T50" fmla="*/ 549 w 879"/>
                    <a:gd name="T51" fmla="*/ 657 h 849"/>
                    <a:gd name="T52" fmla="*/ 595 w 879"/>
                    <a:gd name="T53" fmla="*/ 586 h 849"/>
                    <a:gd name="T54" fmla="*/ 653 w 879"/>
                    <a:gd name="T55" fmla="*/ 514 h 849"/>
                    <a:gd name="T56" fmla="*/ 722 w 879"/>
                    <a:gd name="T57" fmla="*/ 445 h 849"/>
                    <a:gd name="T58" fmla="*/ 803 w 879"/>
                    <a:gd name="T59" fmla="*/ 387 h 849"/>
                    <a:gd name="T60" fmla="*/ 838 w 879"/>
                    <a:gd name="T61" fmla="*/ 369 h 849"/>
                    <a:gd name="T62" fmla="*/ 858 w 879"/>
                    <a:gd name="T63" fmla="*/ 369 h 849"/>
                    <a:gd name="T64" fmla="*/ 873 w 879"/>
                    <a:gd name="T65" fmla="*/ 380 h 849"/>
                    <a:gd name="T66" fmla="*/ 878 w 879"/>
                    <a:gd name="T67" fmla="*/ 392 h 849"/>
                    <a:gd name="T68" fmla="*/ 878 w 879"/>
                    <a:gd name="T69" fmla="*/ 411 h 849"/>
                    <a:gd name="T70" fmla="*/ 867 w 879"/>
                    <a:gd name="T71" fmla="*/ 427 h 849"/>
                    <a:gd name="T72" fmla="*/ 842 w 879"/>
                    <a:gd name="T73" fmla="*/ 440 h 849"/>
                    <a:gd name="T74" fmla="*/ 786 w 879"/>
                    <a:gd name="T75" fmla="*/ 477 h 849"/>
                    <a:gd name="T76" fmla="*/ 737 w 879"/>
                    <a:gd name="T77" fmla="*/ 521 h 849"/>
                    <a:gd name="T78" fmla="*/ 692 w 879"/>
                    <a:gd name="T79" fmla="*/ 569 h 849"/>
                    <a:gd name="T80" fmla="*/ 621 w 879"/>
                    <a:gd name="T81" fmla="*/ 668 h 849"/>
                    <a:gd name="T82" fmla="*/ 570 w 879"/>
                    <a:gd name="T83" fmla="*/ 756 h 849"/>
                    <a:gd name="T84" fmla="*/ 538 w 879"/>
                    <a:gd name="T85" fmla="*/ 828 h 849"/>
                    <a:gd name="T86" fmla="*/ 533 w 879"/>
                    <a:gd name="T87" fmla="*/ 836 h 849"/>
                    <a:gd name="T88" fmla="*/ 521 w 879"/>
                    <a:gd name="T89" fmla="*/ 846 h 849"/>
                    <a:gd name="T90" fmla="*/ 507 w 879"/>
                    <a:gd name="T91" fmla="*/ 849 h 8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79" h="849">
                      <a:moveTo>
                        <a:pt x="507" y="849"/>
                      </a:moveTo>
                      <a:lnTo>
                        <a:pt x="507" y="849"/>
                      </a:lnTo>
                      <a:lnTo>
                        <a:pt x="504" y="849"/>
                      </a:lnTo>
                      <a:lnTo>
                        <a:pt x="504" y="849"/>
                      </a:lnTo>
                      <a:lnTo>
                        <a:pt x="499" y="849"/>
                      </a:lnTo>
                      <a:lnTo>
                        <a:pt x="493" y="847"/>
                      </a:lnTo>
                      <a:lnTo>
                        <a:pt x="489" y="845"/>
                      </a:lnTo>
                      <a:lnTo>
                        <a:pt x="485" y="842"/>
                      </a:lnTo>
                      <a:lnTo>
                        <a:pt x="481" y="838"/>
                      </a:lnTo>
                      <a:lnTo>
                        <a:pt x="478" y="833"/>
                      </a:lnTo>
                      <a:lnTo>
                        <a:pt x="476" y="828"/>
                      </a:lnTo>
                      <a:lnTo>
                        <a:pt x="475" y="823"/>
                      </a:lnTo>
                      <a:lnTo>
                        <a:pt x="475" y="823"/>
                      </a:lnTo>
                      <a:lnTo>
                        <a:pt x="470" y="802"/>
                      </a:lnTo>
                      <a:lnTo>
                        <a:pt x="462" y="780"/>
                      </a:lnTo>
                      <a:lnTo>
                        <a:pt x="453" y="748"/>
                      </a:lnTo>
                      <a:lnTo>
                        <a:pt x="440" y="710"/>
                      </a:lnTo>
                      <a:lnTo>
                        <a:pt x="424" y="666"/>
                      </a:lnTo>
                      <a:lnTo>
                        <a:pt x="403" y="616"/>
                      </a:lnTo>
                      <a:lnTo>
                        <a:pt x="380" y="562"/>
                      </a:lnTo>
                      <a:lnTo>
                        <a:pt x="365" y="533"/>
                      </a:lnTo>
                      <a:lnTo>
                        <a:pt x="351" y="504"/>
                      </a:lnTo>
                      <a:lnTo>
                        <a:pt x="335" y="474"/>
                      </a:lnTo>
                      <a:lnTo>
                        <a:pt x="317" y="443"/>
                      </a:lnTo>
                      <a:lnTo>
                        <a:pt x="300" y="411"/>
                      </a:lnTo>
                      <a:lnTo>
                        <a:pt x="280" y="380"/>
                      </a:lnTo>
                      <a:lnTo>
                        <a:pt x="259" y="348"/>
                      </a:lnTo>
                      <a:lnTo>
                        <a:pt x="237" y="315"/>
                      </a:lnTo>
                      <a:lnTo>
                        <a:pt x="214" y="283"/>
                      </a:lnTo>
                      <a:lnTo>
                        <a:pt x="189" y="250"/>
                      </a:lnTo>
                      <a:lnTo>
                        <a:pt x="163" y="217"/>
                      </a:lnTo>
                      <a:lnTo>
                        <a:pt x="135" y="185"/>
                      </a:lnTo>
                      <a:lnTo>
                        <a:pt x="106" y="153"/>
                      </a:lnTo>
                      <a:lnTo>
                        <a:pt x="76" y="120"/>
                      </a:lnTo>
                      <a:lnTo>
                        <a:pt x="44" y="88"/>
                      </a:lnTo>
                      <a:lnTo>
                        <a:pt x="11" y="57"/>
                      </a:lnTo>
                      <a:lnTo>
                        <a:pt x="11" y="57"/>
                      </a:lnTo>
                      <a:lnTo>
                        <a:pt x="6" y="52"/>
                      </a:lnTo>
                      <a:lnTo>
                        <a:pt x="3" y="47"/>
                      </a:lnTo>
                      <a:lnTo>
                        <a:pt x="1" y="41"/>
                      </a:lnTo>
                      <a:lnTo>
                        <a:pt x="0" y="35"/>
                      </a:ln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5" y="16"/>
                      </a:lnTo>
                      <a:lnTo>
                        <a:pt x="8" y="11"/>
                      </a:lnTo>
                      <a:lnTo>
                        <a:pt x="8" y="11"/>
                      </a:lnTo>
                      <a:lnTo>
                        <a:pt x="13" y="7"/>
                      </a:lnTo>
                      <a:lnTo>
                        <a:pt x="19" y="4"/>
                      </a:lnTo>
                      <a:lnTo>
                        <a:pt x="25" y="0"/>
                      </a:lnTo>
                      <a:lnTo>
                        <a:pt x="32" y="0"/>
                      </a:lnTo>
                      <a:lnTo>
                        <a:pt x="38" y="0"/>
                      </a:lnTo>
                      <a:lnTo>
                        <a:pt x="44" y="1"/>
                      </a:lnTo>
                      <a:lnTo>
                        <a:pt x="49" y="5"/>
                      </a:lnTo>
                      <a:lnTo>
                        <a:pt x="56" y="9"/>
                      </a:lnTo>
                      <a:lnTo>
                        <a:pt x="56" y="9"/>
                      </a:lnTo>
                      <a:lnTo>
                        <a:pt x="81" y="33"/>
                      </a:lnTo>
                      <a:lnTo>
                        <a:pt x="106" y="56"/>
                      </a:lnTo>
                      <a:lnTo>
                        <a:pt x="131" y="81"/>
                      </a:lnTo>
                      <a:lnTo>
                        <a:pt x="154" y="106"/>
                      </a:lnTo>
                      <a:lnTo>
                        <a:pt x="177" y="131"/>
                      </a:lnTo>
                      <a:lnTo>
                        <a:pt x="198" y="156"/>
                      </a:lnTo>
                      <a:lnTo>
                        <a:pt x="219" y="182"/>
                      </a:lnTo>
                      <a:lnTo>
                        <a:pt x="240" y="206"/>
                      </a:lnTo>
                      <a:lnTo>
                        <a:pt x="277" y="256"/>
                      </a:lnTo>
                      <a:lnTo>
                        <a:pt x="312" y="307"/>
                      </a:lnTo>
                      <a:lnTo>
                        <a:pt x="343" y="355"/>
                      </a:lnTo>
                      <a:lnTo>
                        <a:pt x="372" y="404"/>
                      </a:lnTo>
                      <a:lnTo>
                        <a:pt x="399" y="452"/>
                      </a:lnTo>
                      <a:lnTo>
                        <a:pt x="422" y="497"/>
                      </a:lnTo>
                      <a:lnTo>
                        <a:pt x="443" y="541"/>
                      </a:lnTo>
                      <a:lnTo>
                        <a:pt x="461" y="582"/>
                      </a:lnTo>
                      <a:lnTo>
                        <a:pt x="478" y="621"/>
                      </a:lnTo>
                      <a:lnTo>
                        <a:pt x="492" y="657"/>
                      </a:lnTo>
                      <a:lnTo>
                        <a:pt x="504" y="691"/>
                      </a:lnTo>
                      <a:lnTo>
                        <a:pt x="514" y="721"/>
                      </a:lnTo>
                      <a:lnTo>
                        <a:pt x="514" y="721"/>
                      </a:lnTo>
                      <a:lnTo>
                        <a:pt x="536" y="679"/>
                      </a:lnTo>
                      <a:lnTo>
                        <a:pt x="549" y="657"/>
                      </a:lnTo>
                      <a:lnTo>
                        <a:pt x="563" y="634"/>
                      </a:lnTo>
                      <a:lnTo>
                        <a:pt x="578" y="610"/>
                      </a:lnTo>
                      <a:lnTo>
                        <a:pt x="595" y="586"/>
                      </a:lnTo>
                      <a:lnTo>
                        <a:pt x="612" y="562"/>
                      </a:lnTo>
                      <a:lnTo>
                        <a:pt x="632" y="537"/>
                      </a:lnTo>
                      <a:lnTo>
                        <a:pt x="653" y="514"/>
                      </a:lnTo>
                      <a:lnTo>
                        <a:pt x="674" y="490"/>
                      </a:lnTo>
                      <a:lnTo>
                        <a:pt x="697" y="467"/>
                      </a:lnTo>
                      <a:lnTo>
                        <a:pt x="722" y="445"/>
                      </a:lnTo>
                      <a:lnTo>
                        <a:pt x="747" y="425"/>
                      </a:lnTo>
                      <a:lnTo>
                        <a:pt x="774" y="405"/>
                      </a:lnTo>
                      <a:lnTo>
                        <a:pt x="803" y="387"/>
                      </a:lnTo>
                      <a:lnTo>
                        <a:pt x="832" y="371"/>
                      </a:lnTo>
                      <a:lnTo>
                        <a:pt x="832" y="371"/>
                      </a:lnTo>
                      <a:lnTo>
                        <a:pt x="838" y="369"/>
                      </a:lnTo>
                      <a:lnTo>
                        <a:pt x="845" y="368"/>
                      </a:lnTo>
                      <a:lnTo>
                        <a:pt x="851" y="368"/>
                      </a:lnTo>
                      <a:lnTo>
                        <a:pt x="858" y="369"/>
                      </a:lnTo>
                      <a:lnTo>
                        <a:pt x="863" y="372"/>
                      </a:lnTo>
                      <a:lnTo>
                        <a:pt x="868" y="375"/>
                      </a:lnTo>
                      <a:lnTo>
                        <a:pt x="873" y="380"/>
                      </a:lnTo>
                      <a:lnTo>
                        <a:pt x="876" y="385"/>
                      </a:lnTo>
                      <a:lnTo>
                        <a:pt x="876" y="385"/>
                      </a:lnTo>
                      <a:lnTo>
                        <a:pt x="878" y="392"/>
                      </a:lnTo>
                      <a:lnTo>
                        <a:pt x="879" y="399"/>
                      </a:lnTo>
                      <a:lnTo>
                        <a:pt x="879" y="405"/>
                      </a:lnTo>
                      <a:lnTo>
                        <a:pt x="878" y="411"/>
                      </a:lnTo>
                      <a:lnTo>
                        <a:pt x="875" y="416"/>
                      </a:lnTo>
                      <a:lnTo>
                        <a:pt x="872" y="422"/>
                      </a:lnTo>
                      <a:lnTo>
                        <a:pt x="867" y="427"/>
                      </a:lnTo>
                      <a:lnTo>
                        <a:pt x="862" y="430"/>
                      </a:lnTo>
                      <a:lnTo>
                        <a:pt x="862" y="430"/>
                      </a:lnTo>
                      <a:lnTo>
                        <a:pt x="842" y="440"/>
                      </a:lnTo>
                      <a:lnTo>
                        <a:pt x="822" y="452"/>
                      </a:lnTo>
                      <a:lnTo>
                        <a:pt x="805" y="464"/>
                      </a:lnTo>
                      <a:lnTo>
                        <a:pt x="786" y="477"/>
                      </a:lnTo>
                      <a:lnTo>
                        <a:pt x="770" y="492"/>
                      </a:lnTo>
                      <a:lnTo>
                        <a:pt x="753" y="506"/>
                      </a:lnTo>
                      <a:lnTo>
                        <a:pt x="737" y="521"/>
                      </a:lnTo>
                      <a:lnTo>
                        <a:pt x="721" y="536"/>
                      </a:lnTo>
                      <a:lnTo>
                        <a:pt x="707" y="553"/>
                      </a:lnTo>
                      <a:lnTo>
                        <a:pt x="692" y="569"/>
                      </a:lnTo>
                      <a:lnTo>
                        <a:pt x="666" y="602"/>
                      </a:lnTo>
                      <a:lnTo>
                        <a:pt x="641" y="635"/>
                      </a:lnTo>
                      <a:lnTo>
                        <a:pt x="621" y="668"/>
                      </a:lnTo>
                      <a:lnTo>
                        <a:pt x="601" y="699"/>
                      </a:lnTo>
                      <a:lnTo>
                        <a:pt x="584" y="729"/>
                      </a:lnTo>
                      <a:lnTo>
                        <a:pt x="570" y="756"/>
                      </a:lnTo>
                      <a:lnTo>
                        <a:pt x="559" y="780"/>
                      </a:lnTo>
                      <a:lnTo>
                        <a:pt x="543" y="815"/>
                      </a:lnTo>
                      <a:lnTo>
                        <a:pt x="538" y="828"/>
                      </a:lnTo>
                      <a:lnTo>
                        <a:pt x="538" y="828"/>
                      </a:lnTo>
                      <a:lnTo>
                        <a:pt x="536" y="832"/>
                      </a:lnTo>
                      <a:lnTo>
                        <a:pt x="533" y="836"/>
                      </a:lnTo>
                      <a:lnTo>
                        <a:pt x="530" y="841"/>
                      </a:lnTo>
                      <a:lnTo>
                        <a:pt x="525" y="844"/>
                      </a:lnTo>
                      <a:lnTo>
                        <a:pt x="521" y="846"/>
                      </a:lnTo>
                      <a:lnTo>
                        <a:pt x="516" y="848"/>
                      </a:lnTo>
                      <a:lnTo>
                        <a:pt x="512" y="849"/>
                      </a:lnTo>
                      <a:lnTo>
                        <a:pt x="507" y="849"/>
                      </a:lnTo>
                      <a:lnTo>
                        <a:pt x="507" y="849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5913E24-2376-4C9F-B666-084D9C2C4F39}"/>
                </a:ext>
              </a:extLst>
            </p:cNvPr>
            <p:cNvGrpSpPr/>
            <p:nvPr/>
          </p:nvGrpSpPr>
          <p:grpSpPr>
            <a:xfrm>
              <a:off x="6686340" y="698457"/>
              <a:ext cx="3907918" cy="2402730"/>
              <a:chOff x="6686340" y="698457"/>
              <a:chExt cx="3907918" cy="2402730"/>
            </a:xfrm>
          </p:grpSpPr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FAE8763B-D1F7-4127-AF2F-365B1C56CFEF}"/>
                  </a:ext>
                </a:extLst>
              </p:cNvPr>
              <p:cNvSpPr/>
              <p:nvPr/>
            </p:nvSpPr>
            <p:spPr>
              <a:xfrm>
                <a:off x="6686340" y="1031120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rgbClr val="E1BE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EB17FB32-78C1-4BCF-907B-5471F30DE5EC}"/>
                  </a:ext>
                </a:extLst>
              </p:cNvPr>
              <p:cNvSpPr/>
              <p:nvPr/>
            </p:nvSpPr>
            <p:spPr>
              <a:xfrm>
                <a:off x="6968657" y="698457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870D5DD-ABA8-4F9F-A893-C801A941BB9E}"/>
                  </a:ext>
                </a:extLst>
              </p:cNvPr>
              <p:cNvGrpSpPr/>
              <p:nvPr/>
            </p:nvGrpSpPr>
            <p:grpSpPr>
              <a:xfrm>
                <a:off x="6967796" y="1643817"/>
                <a:ext cx="3314119" cy="1160109"/>
                <a:chOff x="1694985" y="4094325"/>
                <a:chExt cx="3314119" cy="1160109"/>
              </a:xfrm>
            </p:grpSpPr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0DF03256-45DE-4734-8953-5D16C754F01C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7386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>
                      <a:solidFill>
                        <a:schemeClr val="bg1"/>
                      </a:solidFill>
                    </a:rPr>
                    <a:t>Lorem ipsum dolor sit amet, consectetuer adipiscing elit. Maecenas porttitor congue massa. Fusce posuere, magna sed pulvinar ultricies, purus lectus malesuada libero, 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AC93C14F-1AE9-4E95-92DA-082C3345DB2E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id-ID" b="1">
                      <a:solidFill>
                        <a:schemeClr val="bg1"/>
                      </a:solidFill>
                    </a:rPr>
                    <a:t>Lorem ipsum</a:t>
                  </a:r>
                  <a:endParaRPr lang="en-US" b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3CCA4EA8-D5E1-4646-9921-BEA6455BD73F}"/>
                  </a:ext>
                </a:extLst>
              </p:cNvPr>
              <p:cNvGrpSpPr/>
              <p:nvPr/>
            </p:nvGrpSpPr>
            <p:grpSpPr>
              <a:xfrm>
                <a:off x="7137808" y="867608"/>
                <a:ext cx="327025" cy="327025"/>
                <a:chOff x="4125913" y="2552700"/>
                <a:chExt cx="327025" cy="327025"/>
              </a:xfrm>
            </p:grpSpPr>
            <p:sp>
              <p:nvSpPr>
                <p:cNvPr id="40" name="Freeform 5">
                  <a:extLst>
                    <a:ext uri="{FF2B5EF4-FFF2-40B4-BE49-F238E27FC236}">
                      <a16:creationId xmlns:a16="http://schemas.microsoft.com/office/drawing/2014/main" id="{62060247-0D5E-4BB6-9242-6E704B8A23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6550" y="2663825"/>
                  <a:ext cx="193675" cy="195263"/>
                </a:xfrm>
                <a:custGeom>
                  <a:avLst/>
                  <a:gdLst>
                    <a:gd name="T0" fmla="*/ 33 w 860"/>
                    <a:gd name="T1" fmla="*/ 860 h 860"/>
                    <a:gd name="T2" fmla="*/ 33 w 860"/>
                    <a:gd name="T3" fmla="*/ 860 h 860"/>
                    <a:gd name="T4" fmla="*/ 27 w 860"/>
                    <a:gd name="T5" fmla="*/ 859 h 860"/>
                    <a:gd name="T6" fmla="*/ 21 w 860"/>
                    <a:gd name="T7" fmla="*/ 857 h 860"/>
                    <a:gd name="T8" fmla="*/ 16 w 860"/>
                    <a:gd name="T9" fmla="*/ 854 h 860"/>
                    <a:gd name="T10" fmla="*/ 11 w 860"/>
                    <a:gd name="T11" fmla="*/ 850 h 860"/>
                    <a:gd name="T12" fmla="*/ 11 w 860"/>
                    <a:gd name="T13" fmla="*/ 850 h 860"/>
                    <a:gd name="T14" fmla="*/ 5 w 860"/>
                    <a:gd name="T15" fmla="*/ 845 h 860"/>
                    <a:gd name="T16" fmla="*/ 3 w 860"/>
                    <a:gd name="T17" fmla="*/ 840 h 860"/>
                    <a:gd name="T18" fmla="*/ 1 w 860"/>
                    <a:gd name="T19" fmla="*/ 833 h 860"/>
                    <a:gd name="T20" fmla="*/ 0 w 860"/>
                    <a:gd name="T21" fmla="*/ 827 h 860"/>
                    <a:gd name="T22" fmla="*/ 1 w 860"/>
                    <a:gd name="T23" fmla="*/ 821 h 860"/>
                    <a:gd name="T24" fmla="*/ 3 w 860"/>
                    <a:gd name="T25" fmla="*/ 815 h 860"/>
                    <a:gd name="T26" fmla="*/ 5 w 860"/>
                    <a:gd name="T27" fmla="*/ 809 h 860"/>
                    <a:gd name="T28" fmla="*/ 11 w 860"/>
                    <a:gd name="T29" fmla="*/ 803 h 860"/>
                    <a:gd name="T30" fmla="*/ 803 w 860"/>
                    <a:gd name="T31" fmla="*/ 10 h 860"/>
                    <a:gd name="T32" fmla="*/ 803 w 860"/>
                    <a:gd name="T33" fmla="*/ 10 h 860"/>
                    <a:gd name="T34" fmla="*/ 809 w 860"/>
                    <a:gd name="T35" fmla="*/ 6 h 860"/>
                    <a:gd name="T36" fmla="*/ 815 w 860"/>
                    <a:gd name="T37" fmla="*/ 2 h 860"/>
                    <a:gd name="T38" fmla="*/ 821 w 860"/>
                    <a:gd name="T39" fmla="*/ 1 h 860"/>
                    <a:gd name="T40" fmla="*/ 827 w 860"/>
                    <a:gd name="T41" fmla="*/ 0 h 860"/>
                    <a:gd name="T42" fmla="*/ 833 w 860"/>
                    <a:gd name="T43" fmla="*/ 1 h 860"/>
                    <a:gd name="T44" fmla="*/ 840 w 860"/>
                    <a:gd name="T45" fmla="*/ 2 h 860"/>
                    <a:gd name="T46" fmla="*/ 845 w 860"/>
                    <a:gd name="T47" fmla="*/ 6 h 860"/>
                    <a:gd name="T48" fmla="*/ 850 w 860"/>
                    <a:gd name="T49" fmla="*/ 10 h 860"/>
                    <a:gd name="T50" fmla="*/ 850 w 860"/>
                    <a:gd name="T51" fmla="*/ 10 h 860"/>
                    <a:gd name="T52" fmla="*/ 855 w 860"/>
                    <a:gd name="T53" fmla="*/ 15 h 860"/>
                    <a:gd name="T54" fmla="*/ 857 w 860"/>
                    <a:gd name="T55" fmla="*/ 21 h 860"/>
                    <a:gd name="T56" fmla="*/ 859 w 860"/>
                    <a:gd name="T57" fmla="*/ 27 h 860"/>
                    <a:gd name="T58" fmla="*/ 860 w 860"/>
                    <a:gd name="T59" fmla="*/ 34 h 860"/>
                    <a:gd name="T60" fmla="*/ 859 w 860"/>
                    <a:gd name="T61" fmla="*/ 40 h 860"/>
                    <a:gd name="T62" fmla="*/ 857 w 860"/>
                    <a:gd name="T63" fmla="*/ 46 h 860"/>
                    <a:gd name="T64" fmla="*/ 855 w 860"/>
                    <a:gd name="T65" fmla="*/ 52 h 860"/>
                    <a:gd name="T66" fmla="*/ 850 w 860"/>
                    <a:gd name="T67" fmla="*/ 57 h 860"/>
                    <a:gd name="T68" fmla="*/ 57 w 860"/>
                    <a:gd name="T69" fmla="*/ 850 h 860"/>
                    <a:gd name="T70" fmla="*/ 57 w 860"/>
                    <a:gd name="T71" fmla="*/ 850 h 860"/>
                    <a:gd name="T72" fmla="*/ 52 w 860"/>
                    <a:gd name="T73" fmla="*/ 854 h 860"/>
                    <a:gd name="T74" fmla="*/ 46 w 860"/>
                    <a:gd name="T75" fmla="*/ 857 h 860"/>
                    <a:gd name="T76" fmla="*/ 40 w 860"/>
                    <a:gd name="T77" fmla="*/ 859 h 860"/>
                    <a:gd name="T78" fmla="*/ 33 w 860"/>
                    <a:gd name="T79" fmla="*/ 860 h 860"/>
                    <a:gd name="T80" fmla="*/ 33 w 860"/>
                    <a:gd name="T81" fmla="*/ 860 h 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60" h="860">
                      <a:moveTo>
                        <a:pt x="33" y="860"/>
                      </a:moveTo>
                      <a:lnTo>
                        <a:pt x="33" y="860"/>
                      </a:lnTo>
                      <a:lnTo>
                        <a:pt x="27" y="859"/>
                      </a:lnTo>
                      <a:lnTo>
                        <a:pt x="21" y="857"/>
                      </a:lnTo>
                      <a:lnTo>
                        <a:pt x="16" y="854"/>
                      </a:lnTo>
                      <a:lnTo>
                        <a:pt x="11" y="850"/>
                      </a:lnTo>
                      <a:lnTo>
                        <a:pt x="11" y="850"/>
                      </a:lnTo>
                      <a:lnTo>
                        <a:pt x="5" y="845"/>
                      </a:lnTo>
                      <a:lnTo>
                        <a:pt x="3" y="840"/>
                      </a:lnTo>
                      <a:lnTo>
                        <a:pt x="1" y="833"/>
                      </a:lnTo>
                      <a:lnTo>
                        <a:pt x="0" y="827"/>
                      </a:lnTo>
                      <a:lnTo>
                        <a:pt x="1" y="821"/>
                      </a:lnTo>
                      <a:lnTo>
                        <a:pt x="3" y="815"/>
                      </a:lnTo>
                      <a:lnTo>
                        <a:pt x="5" y="809"/>
                      </a:lnTo>
                      <a:lnTo>
                        <a:pt x="11" y="803"/>
                      </a:lnTo>
                      <a:lnTo>
                        <a:pt x="803" y="10"/>
                      </a:lnTo>
                      <a:lnTo>
                        <a:pt x="803" y="10"/>
                      </a:lnTo>
                      <a:lnTo>
                        <a:pt x="809" y="6"/>
                      </a:lnTo>
                      <a:lnTo>
                        <a:pt x="815" y="2"/>
                      </a:lnTo>
                      <a:lnTo>
                        <a:pt x="821" y="1"/>
                      </a:lnTo>
                      <a:lnTo>
                        <a:pt x="827" y="0"/>
                      </a:lnTo>
                      <a:lnTo>
                        <a:pt x="833" y="1"/>
                      </a:lnTo>
                      <a:lnTo>
                        <a:pt x="840" y="2"/>
                      </a:lnTo>
                      <a:lnTo>
                        <a:pt x="845" y="6"/>
                      </a:lnTo>
                      <a:lnTo>
                        <a:pt x="850" y="10"/>
                      </a:lnTo>
                      <a:lnTo>
                        <a:pt x="850" y="10"/>
                      </a:lnTo>
                      <a:lnTo>
                        <a:pt x="855" y="15"/>
                      </a:lnTo>
                      <a:lnTo>
                        <a:pt x="857" y="21"/>
                      </a:lnTo>
                      <a:lnTo>
                        <a:pt x="859" y="27"/>
                      </a:lnTo>
                      <a:lnTo>
                        <a:pt x="860" y="34"/>
                      </a:lnTo>
                      <a:lnTo>
                        <a:pt x="859" y="40"/>
                      </a:lnTo>
                      <a:lnTo>
                        <a:pt x="857" y="46"/>
                      </a:lnTo>
                      <a:lnTo>
                        <a:pt x="855" y="52"/>
                      </a:lnTo>
                      <a:lnTo>
                        <a:pt x="850" y="57"/>
                      </a:lnTo>
                      <a:lnTo>
                        <a:pt x="57" y="850"/>
                      </a:lnTo>
                      <a:lnTo>
                        <a:pt x="57" y="850"/>
                      </a:lnTo>
                      <a:lnTo>
                        <a:pt x="52" y="854"/>
                      </a:lnTo>
                      <a:lnTo>
                        <a:pt x="46" y="857"/>
                      </a:lnTo>
                      <a:lnTo>
                        <a:pt x="40" y="859"/>
                      </a:lnTo>
                      <a:lnTo>
                        <a:pt x="33" y="860"/>
                      </a:lnTo>
                      <a:lnTo>
                        <a:pt x="33" y="860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6">
                  <a:extLst>
                    <a:ext uri="{FF2B5EF4-FFF2-40B4-BE49-F238E27FC236}">
                      <a16:creationId xmlns:a16="http://schemas.microsoft.com/office/drawing/2014/main" id="{A1D8B027-C018-481C-81D8-C2FCD8597F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5913" y="2552700"/>
                  <a:ext cx="327025" cy="327025"/>
                </a:xfrm>
                <a:custGeom>
                  <a:avLst/>
                  <a:gdLst>
                    <a:gd name="T0" fmla="*/ 509 w 1444"/>
                    <a:gd name="T1" fmla="*/ 1438 h 1443"/>
                    <a:gd name="T2" fmla="*/ 379 w 1444"/>
                    <a:gd name="T3" fmla="*/ 1406 h 1443"/>
                    <a:gd name="T4" fmla="*/ 244 w 1444"/>
                    <a:gd name="T5" fmla="*/ 1345 h 1443"/>
                    <a:gd name="T6" fmla="*/ 153 w 1444"/>
                    <a:gd name="T7" fmla="*/ 1289 h 1443"/>
                    <a:gd name="T8" fmla="*/ 75 w 1444"/>
                    <a:gd name="T9" fmla="*/ 1153 h 1443"/>
                    <a:gd name="T10" fmla="*/ 20 w 1444"/>
                    <a:gd name="T11" fmla="*/ 1007 h 1443"/>
                    <a:gd name="T12" fmla="*/ 2 w 1444"/>
                    <a:gd name="T13" fmla="*/ 905 h 1443"/>
                    <a:gd name="T14" fmla="*/ 2 w 1444"/>
                    <a:gd name="T15" fmla="*/ 808 h 1443"/>
                    <a:gd name="T16" fmla="*/ 21 w 1444"/>
                    <a:gd name="T17" fmla="*/ 715 h 1443"/>
                    <a:gd name="T18" fmla="*/ 48 w 1444"/>
                    <a:gd name="T19" fmla="*/ 643 h 1443"/>
                    <a:gd name="T20" fmla="*/ 119 w 1444"/>
                    <a:gd name="T21" fmla="*/ 530 h 1443"/>
                    <a:gd name="T22" fmla="*/ 216 w 1444"/>
                    <a:gd name="T23" fmla="*/ 429 h 1443"/>
                    <a:gd name="T24" fmla="*/ 331 w 1444"/>
                    <a:gd name="T25" fmla="*/ 342 h 1443"/>
                    <a:gd name="T26" fmla="*/ 517 w 1444"/>
                    <a:gd name="T27" fmla="*/ 240 h 1443"/>
                    <a:gd name="T28" fmla="*/ 801 w 1444"/>
                    <a:gd name="T29" fmla="*/ 130 h 1443"/>
                    <a:gd name="T30" fmla="*/ 1072 w 1444"/>
                    <a:gd name="T31" fmla="*/ 58 h 1443"/>
                    <a:gd name="T32" fmla="*/ 1387 w 1444"/>
                    <a:gd name="T33" fmla="*/ 2 h 1443"/>
                    <a:gd name="T34" fmla="*/ 1428 w 1444"/>
                    <a:gd name="T35" fmla="*/ 5 h 1443"/>
                    <a:gd name="T36" fmla="*/ 1444 w 1444"/>
                    <a:gd name="T37" fmla="*/ 29 h 1443"/>
                    <a:gd name="T38" fmla="*/ 1426 w 1444"/>
                    <a:gd name="T39" fmla="*/ 158 h 1443"/>
                    <a:gd name="T40" fmla="*/ 1361 w 1444"/>
                    <a:gd name="T41" fmla="*/ 475 h 1443"/>
                    <a:gd name="T42" fmla="*/ 1274 w 1444"/>
                    <a:gd name="T43" fmla="*/ 756 h 1443"/>
                    <a:gd name="T44" fmla="*/ 1148 w 1444"/>
                    <a:gd name="T45" fmla="*/ 1036 h 1443"/>
                    <a:gd name="T46" fmla="*/ 1068 w 1444"/>
                    <a:gd name="T47" fmla="*/ 1161 h 1443"/>
                    <a:gd name="T48" fmla="*/ 976 w 1444"/>
                    <a:gd name="T49" fmla="*/ 1268 h 1443"/>
                    <a:gd name="T50" fmla="*/ 871 w 1444"/>
                    <a:gd name="T51" fmla="*/ 1355 h 1443"/>
                    <a:gd name="T52" fmla="*/ 774 w 1444"/>
                    <a:gd name="T53" fmla="*/ 1406 h 1443"/>
                    <a:gd name="T54" fmla="*/ 641 w 1444"/>
                    <a:gd name="T55" fmla="*/ 1440 h 1443"/>
                    <a:gd name="T56" fmla="*/ 201 w 1444"/>
                    <a:gd name="T57" fmla="*/ 1242 h 1443"/>
                    <a:gd name="T58" fmla="*/ 396 w 1444"/>
                    <a:gd name="T59" fmla="*/ 1341 h 1443"/>
                    <a:gd name="T60" fmla="*/ 558 w 1444"/>
                    <a:gd name="T61" fmla="*/ 1376 h 1443"/>
                    <a:gd name="T62" fmla="*/ 644 w 1444"/>
                    <a:gd name="T63" fmla="*/ 1373 h 1443"/>
                    <a:gd name="T64" fmla="*/ 726 w 1444"/>
                    <a:gd name="T65" fmla="*/ 1354 h 1443"/>
                    <a:gd name="T66" fmla="*/ 792 w 1444"/>
                    <a:gd name="T67" fmla="*/ 1325 h 1443"/>
                    <a:gd name="T68" fmla="*/ 885 w 1444"/>
                    <a:gd name="T69" fmla="*/ 1262 h 1443"/>
                    <a:gd name="T70" fmla="*/ 968 w 1444"/>
                    <a:gd name="T71" fmla="*/ 1179 h 1443"/>
                    <a:gd name="T72" fmla="*/ 1069 w 1444"/>
                    <a:gd name="T73" fmla="*/ 1039 h 1443"/>
                    <a:gd name="T74" fmla="*/ 1184 w 1444"/>
                    <a:gd name="T75" fmla="*/ 803 h 1443"/>
                    <a:gd name="T76" fmla="*/ 1269 w 1444"/>
                    <a:gd name="T77" fmla="*/ 554 h 1443"/>
                    <a:gd name="T78" fmla="*/ 1344 w 1444"/>
                    <a:gd name="T79" fmla="*/ 245 h 1443"/>
                    <a:gd name="T80" fmla="*/ 1327 w 1444"/>
                    <a:gd name="T81" fmla="*/ 77 h 1443"/>
                    <a:gd name="T82" fmla="*/ 984 w 1444"/>
                    <a:gd name="T83" fmla="*/ 149 h 1443"/>
                    <a:gd name="T84" fmla="*/ 740 w 1444"/>
                    <a:gd name="T85" fmla="*/ 222 h 1443"/>
                    <a:gd name="T86" fmla="*/ 496 w 1444"/>
                    <a:gd name="T87" fmla="*/ 325 h 1443"/>
                    <a:gd name="T88" fmla="*/ 301 w 1444"/>
                    <a:gd name="T89" fmla="*/ 445 h 1443"/>
                    <a:gd name="T90" fmla="*/ 212 w 1444"/>
                    <a:gd name="T91" fmla="*/ 524 h 1443"/>
                    <a:gd name="T92" fmla="*/ 141 w 1444"/>
                    <a:gd name="T93" fmla="*/ 613 h 1443"/>
                    <a:gd name="T94" fmla="*/ 102 w 1444"/>
                    <a:gd name="T95" fmla="*/ 687 h 1443"/>
                    <a:gd name="T96" fmla="*/ 76 w 1444"/>
                    <a:gd name="T97" fmla="*/ 766 h 1443"/>
                    <a:gd name="T98" fmla="*/ 67 w 1444"/>
                    <a:gd name="T99" fmla="*/ 850 h 1443"/>
                    <a:gd name="T100" fmla="*/ 80 w 1444"/>
                    <a:gd name="T101" fmla="*/ 974 h 1443"/>
                    <a:gd name="T102" fmla="*/ 153 w 1444"/>
                    <a:gd name="T103" fmla="*/ 1163 h 14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44" h="1443">
                      <a:moveTo>
                        <a:pt x="585" y="1443"/>
                      </a:moveTo>
                      <a:lnTo>
                        <a:pt x="585" y="1443"/>
                      </a:lnTo>
                      <a:lnTo>
                        <a:pt x="560" y="1442"/>
                      </a:lnTo>
                      <a:lnTo>
                        <a:pt x="535" y="1441"/>
                      </a:lnTo>
                      <a:lnTo>
                        <a:pt x="509" y="1438"/>
                      </a:lnTo>
                      <a:lnTo>
                        <a:pt x="485" y="1434"/>
                      </a:lnTo>
                      <a:lnTo>
                        <a:pt x="459" y="1429"/>
                      </a:lnTo>
                      <a:lnTo>
                        <a:pt x="432" y="1423"/>
                      </a:lnTo>
                      <a:lnTo>
                        <a:pt x="406" y="1414"/>
                      </a:lnTo>
                      <a:lnTo>
                        <a:pt x="379" y="1406"/>
                      </a:lnTo>
                      <a:lnTo>
                        <a:pt x="352" y="1396"/>
                      </a:lnTo>
                      <a:lnTo>
                        <a:pt x="325" y="1384"/>
                      </a:lnTo>
                      <a:lnTo>
                        <a:pt x="298" y="1373"/>
                      </a:lnTo>
                      <a:lnTo>
                        <a:pt x="270" y="1359"/>
                      </a:lnTo>
                      <a:lnTo>
                        <a:pt x="244" y="1345"/>
                      </a:lnTo>
                      <a:lnTo>
                        <a:pt x="216" y="1328"/>
                      </a:lnTo>
                      <a:lnTo>
                        <a:pt x="188" y="1312"/>
                      </a:lnTo>
                      <a:lnTo>
                        <a:pt x="159" y="1294"/>
                      </a:lnTo>
                      <a:lnTo>
                        <a:pt x="159" y="1294"/>
                      </a:lnTo>
                      <a:lnTo>
                        <a:pt x="153" y="1289"/>
                      </a:lnTo>
                      <a:lnTo>
                        <a:pt x="149" y="1284"/>
                      </a:lnTo>
                      <a:lnTo>
                        <a:pt x="149" y="1284"/>
                      </a:lnTo>
                      <a:lnTo>
                        <a:pt x="121" y="1240"/>
                      </a:lnTo>
                      <a:lnTo>
                        <a:pt x="97" y="1196"/>
                      </a:lnTo>
                      <a:lnTo>
                        <a:pt x="75" y="1153"/>
                      </a:lnTo>
                      <a:lnTo>
                        <a:pt x="55" y="1111"/>
                      </a:lnTo>
                      <a:lnTo>
                        <a:pt x="40" y="1069"/>
                      </a:lnTo>
                      <a:lnTo>
                        <a:pt x="32" y="1048"/>
                      </a:lnTo>
                      <a:lnTo>
                        <a:pt x="26" y="1027"/>
                      </a:lnTo>
                      <a:lnTo>
                        <a:pt x="20" y="1007"/>
                      </a:lnTo>
                      <a:lnTo>
                        <a:pt x="15" y="986"/>
                      </a:lnTo>
                      <a:lnTo>
                        <a:pt x="11" y="965"/>
                      </a:lnTo>
                      <a:lnTo>
                        <a:pt x="8" y="946"/>
                      </a:lnTo>
                      <a:lnTo>
                        <a:pt x="4" y="926"/>
                      </a:lnTo>
                      <a:lnTo>
                        <a:pt x="2" y="905"/>
                      </a:lnTo>
                      <a:lnTo>
                        <a:pt x="1" y="885"/>
                      </a:lnTo>
                      <a:lnTo>
                        <a:pt x="0" y="866"/>
                      </a:lnTo>
                      <a:lnTo>
                        <a:pt x="0" y="847"/>
                      </a:lnTo>
                      <a:lnTo>
                        <a:pt x="1" y="828"/>
                      </a:lnTo>
                      <a:lnTo>
                        <a:pt x="2" y="808"/>
                      </a:lnTo>
                      <a:lnTo>
                        <a:pt x="4" y="789"/>
                      </a:lnTo>
                      <a:lnTo>
                        <a:pt x="8" y="771"/>
                      </a:lnTo>
                      <a:lnTo>
                        <a:pt x="12" y="752"/>
                      </a:lnTo>
                      <a:lnTo>
                        <a:pt x="16" y="733"/>
                      </a:lnTo>
                      <a:lnTo>
                        <a:pt x="21" y="715"/>
                      </a:lnTo>
                      <a:lnTo>
                        <a:pt x="26" y="697"/>
                      </a:lnTo>
                      <a:lnTo>
                        <a:pt x="33" y="679"/>
                      </a:lnTo>
                      <a:lnTo>
                        <a:pt x="41" y="661"/>
                      </a:lnTo>
                      <a:lnTo>
                        <a:pt x="48" y="643"/>
                      </a:lnTo>
                      <a:lnTo>
                        <a:pt x="48" y="643"/>
                      </a:lnTo>
                      <a:lnTo>
                        <a:pt x="60" y="620"/>
                      </a:lnTo>
                      <a:lnTo>
                        <a:pt x="74" y="596"/>
                      </a:lnTo>
                      <a:lnTo>
                        <a:pt x="88" y="573"/>
                      </a:lnTo>
                      <a:lnTo>
                        <a:pt x="103" y="551"/>
                      </a:lnTo>
                      <a:lnTo>
                        <a:pt x="119" y="530"/>
                      </a:lnTo>
                      <a:lnTo>
                        <a:pt x="137" y="508"/>
                      </a:lnTo>
                      <a:lnTo>
                        <a:pt x="156" y="488"/>
                      </a:lnTo>
                      <a:lnTo>
                        <a:pt x="174" y="467"/>
                      </a:lnTo>
                      <a:lnTo>
                        <a:pt x="195" y="448"/>
                      </a:lnTo>
                      <a:lnTo>
                        <a:pt x="216" y="429"/>
                      </a:lnTo>
                      <a:lnTo>
                        <a:pt x="237" y="411"/>
                      </a:lnTo>
                      <a:lnTo>
                        <a:pt x="260" y="393"/>
                      </a:lnTo>
                      <a:lnTo>
                        <a:pt x="283" y="375"/>
                      </a:lnTo>
                      <a:lnTo>
                        <a:pt x="307" y="359"/>
                      </a:lnTo>
                      <a:lnTo>
                        <a:pt x="331" y="342"/>
                      </a:lnTo>
                      <a:lnTo>
                        <a:pt x="356" y="326"/>
                      </a:lnTo>
                      <a:lnTo>
                        <a:pt x="382" y="310"/>
                      </a:lnTo>
                      <a:lnTo>
                        <a:pt x="408" y="296"/>
                      </a:lnTo>
                      <a:lnTo>
                        <a:pt x="462" y="267"/>
                      </a:lnTo>
                      <a:lnTo>
                        <a:pt x="517" y="240"/>
                      </a:lnTo>
                      <a:lnTo>
                        <a:pt x="573" y="215"/>
                      </a:lnTo>
                      <a:lnTo>
                        <a:pt x="630" y="191"/>
                      </a:lnTo>
                      <a:lnTo>
                        <a:pt x="687" y="169"/>
                      </a:lnTo>
                      <a:lnTo>
                        <a:pt x="744" y="149"/>
                      </a:lnTo>
                      <a:lnTo>
                        <a:pt x="801" y="130"/>
                      </a:lnTo>
                      <a:lnTo>
                        <a:pt x="858" y="113"/>
                      </a:lnTo>
                      <a:lnTo>
                        <a:pt x="914" y="97"/>
                      </a:lnTo>
                      <a:lnTo>
                        <a:pt x="968" y="83"/>
                      </a:lnTo>
                      <a:lnTo>
                        <a:pt x="1022" y="70"/>
                      </a:lnTo>
                      <a:lnTo>
                        <a:pt x="1072" y="58"/>
                      </a:lnTo>
                      <a:lnTo>
                        <a:pt x="1121" y="47"/>
                      </a:lnTo>
                      <a:lnTo>
                        <a:pt x="1210" y="30"/>
                      </a:lnTo>
                      <a:lnTo>
                        <a:pt x="1286" y="17"/>
                      </a:lnTo>
                      <a:lnTo>
                        <a:pt x="1346" y="8"/>
                      </a:lnTo>
                      <a:lnTo>
                        <a:pt x="1387" y="2"/>
                      </a:lnTo>
                      <a:lnTo>
                        <a:pt x="1408" y="0"/>
                      </a:lnTo>
                      <a:lnTo>
                        <a:pt x="1408" y="0"/>
                      </a:lnTo>
                      <a:lnTo>
                        <a:pt x="1415" y="0"/>
                      </a:lnTo>
                      <a:lnTo>
                        <a:pt x="1422" y="2"/>
                      </a:lnTo>
                      <a:lnTo>
                        <a:pt x="1428" y="5"/>
                      </a:lnTo>
                      <a:lnTo>
                        <a:pt x="1435" y="9"/>
                      </a:lnTo>
                      <a:lnTo>
                        <a:pt x="1435" y="9"/>
                      </a:lnTo>
                      <a:lnTo>
                        <a:pt x="1439" y="15"/>
                      </a:lnTo>
                      <a:lnTo>
                        <a:pt x="1442" y="22"/>
                      </a:lnTo>
                      <a:lnTo>
                        <a:pt x="1444" y="29"/>
                      </a:lnTo>
                      <a:lnTo>
                        <a:pt x="1444" y="36"/>
                      </a:lnTo>
                      <a:lnTo>
                        <a:pt x="1444" y="36"/>
                      </a:lnTo>
                      <a:lnTo>
                        <a:pt x="1441" y="57"/>
                      </a:lnTo>
                      <a:lnTo>
                        <a:pt x="1436" y="98"/>
                      </a:lnTo>
                      <a:lnTo>
                        <a:pt x="1426" y="158"/>
                      </a:lnTo>
                      <a:lnTo>
                        <a:pt x="1414" y="234"/>
                      </a:lnTo>
                      <a:lnTo>
                        <a:pt x="1396" y="323"/>
                      </a:lnTo>
                      <a:lnTo>
                        <a:pt x="1386" y="371"/>
                      </a:lnTo>
                      <a:lnTo>
                        <a:pt x="1374" y="422"/>
                      </a:lnTo>
                      <a:lnTo>
                        <a:pt x="1361" y="475"/>
                      </a:lnTo>
                      <a:lnTo>
                        <a:pt x="1347" y="530"/>
                      </a:lnTo>
                      <a:lnTo>
                        <a:pt x="1330" y="585"/>
                      </a:lnTo>
                      <a:lnTo>
                        <a:pt x="1314" y="641"/>
                      </a:lnTo>
                      <a:lnTo>
                        <a:pt x="1295" y="699"/>
                      </a:lnTo>
                      <a:lnTo>
                        <a:pt x="1274" y="756"/>
                      </a:lnTo>
                      <a:lnTo>
                        <a:pt x="1253" y="814"/>
                      </a:lnTo>
                      <a:lnTo>
                        <a:pt x="1229" y="871"/>
                      </a:lnTo>
                      <a:lnTo>
                        <a:pt x="1204" y="927"/>
                      </a:lnTo>
                      <a:lnTo>
                        <a:pt x="1177" y="982"/>
                      </a:lnTo>
                      <a:lnTo>
                        <a:pt x="1148" y="1036"/>
                      </a:lnTo>
                      <a:lnTo>
                        <a:pt x="1134" y="1061"/>
                      </a:lnTo>
                      <a:lnTo>
                        <a:pt x="1118" y="1087"/>
                      </a:lnTo>
                      <a:lnTo>
                        <a:pt x="1101" y="1112"/>
                      </a:lnTo>
                      <a:lnTo>
                        <a:pt x="1085" y="1136"/>
                      </a:lnTo>
                      <a:lnTo>
                        <a:pt x="1068" y="1161"/>
                      </a:lnTo>
                      <a:lnTo>
                        <a:pt x="1051" y="1183"/>
                      </a:lnTo>
                      <a:lnTo>
                        <a:pt x="1033" y="1206"/>
                      </a:lnTo>
                      <a:lnTo>
                        <a:pt x="1015" y="1228"/>
                      </a:lnTo>
                      <a:lnTo>
                        <a:pt x="995" y="1249"/>
                      </a:lnTo>
                      <a:lnTo>
                        <a:pt x="976" y="1268"/>
                      </a:lnTo>
                      <a:lnTo>
                        <a:pt x="956" y="1288"/>
                      </a:lnTo>
                      <a:lnTo>
                        <a:pt x="935" y="1307"/>
                      </a:lnTo>
                      <a:lnTo>
                        <a:pt x="914" y="1324"/>
                      </a:lnTo>
                      <a:lnTo>
                        <a:pt x="892" y="1340"/>
                      </a:lnTo>
                      <a:lnTo>
                        <a:pt x="871" y="1355"/>
                      </a:lnTo>
                      <a:lnTo>
                        <a:pt x="848" y="1370"/>
                      </a:lnTo>
                      <a:lnTo>
                        <a:pt x="824" y="1383"/>
                      </a:lnTo>
                      <a:lnTo>
                        <a:pt x="800" y="1395"/>
                      </a:lnTo>
                      <a:lnTo>
                        <a:pt x="800" y="1395"/>
                      </a:lnTo>
                      <a:lnTo>
                        <a:pt x="774" y="1406"/>
                      </a:lnTo>
                      <a:lnTo>
                        <a:pt x="749" y="1416"/>
                      </a:lnTo>
                      <a:lnTo>
                        <a:pt x="723" y="1425"/>
                      </a:lnTo>
                      <a:lnTo>
                        <a:pt x="696" y="1431"/>
                      </a:lnTo>
                      <a:lnTo>
                        <a:pt x="669" y="1436"/>
                      </a:lnTo>
                      <a:lnTo>
                        <a:pt x="641" y="1440"/>
                      </a:lnTo>
                      <a:lnTo>
                        <a:pt x="613" y="1442"/>
                      </a:lnTo>
                      <a:lnTo>
                        <a:pt x="585" y="1443"/>
                      </a:lnTo>
                      <a:lnTo>
                        <a:pt x="585" y="1443"/>
                      </a:lnTo>
                      <a:close/>
                      <a:moveTo>
                        <a:pt x="201" y="1242"/>
                      </a:moveTo>
                      <a:lnTo>
                        <a:pt x="201" y="1242"/>
                      </a:lnTo>
                      <a:lnTo>
                        <a:pt x="241" y="1267"/>
                      </a:lnTo>
                      <a:lnTo>
                        <a:pt x="281" y="1289"/>
                      </a:lnTo>
                      <a:lnTo>
                        <a:pt x="319" y="1309"/>
                      </a:lnTo>
                      <a:lnTo>
                        <a:pt x="357" y="1326"/>
                      </a:lnTo>
                      <a:lnTo>
                        <a:pt x="396" y="1341"/>
                      </a:lnTo>
                      <a:lnTo>
                        <a:pt x="433" y="1353"/>
                      </a:lnTo>
                      <a:lnTo>
                        <a:pt x="469" y="1362"/>
                      </a:lnTo>
                      <a:lnTo>
                        <a:pt x="505" y="1370"/>
                      </a:lnTo>
                      <a:lnTo>
                        <a:pt x="541" y="1375"/>
                      </a:lnTo>
                      <a:lnTo>
                        <a:pt x="558" y="1376"/>
                      </a:lnTo>
                      <a:lnTo>
                        <a:pt x="576" y="1377"/>
                      </a:lnTo>
                      <a:lnTo>
                        <a:pt x="593" y="1377"/>
                      </a:lnTo>
                      <a:lnTo>
                        <a:pt x="610" y="1376"/>
                      </a:lnTo>
                      <a:lnTo>
                        <a:pt x="626" y="1375"/>
                      </a:lnTo>
                      <a:lnTo>
                        <a:pt x="644" y="1373"/>
                      </a:lnTo>
                      <a:lnTo>
                        <a:pt x="661" y="1371"/>
                      </a:lnTo>
                      <a:lnTo>
                        <a:pt x="677" y="1368"/>
                      </a:lnTo>
                      <a:lnTo>
                        <a:pt x="693" y="1364"/>
                      </a:lnTo>
                      <a:lnTo>
                        <a:pt x="709" y="1359"/>
                      </a:lnTo>
                      <a:lnTo>
                        <a:pt x="726" y="1354"/>
                      </a:lnTo>
                      <a:lnTo>
                        <a:pt x="741" y="1348"/>
                      </a:lnTo>
                      <a:lnTo>
                        <a:pt x="757" y="1342"/>
                      </a:lnTo>
                      <a:lnTo>
                        <a:pt x="772" y="1336"/>
                      </a:lnTo>
                      <a:lnTo>
                        <a:pt x="772" y="1336"/>
                      </a:lnTo>
                      <a:lnTo>
                        <a:pt x="792" y="1325"/>
                      </a:lnTo>
                      <a:lnTo>
                        <a:pt x="812" y="1315"/>
                      </a:lnTo>
                      <a:lnTo>
                        <a:pt x="830" y="1302"/>
                      </a:lnTo>
                      <a:lnTo>
                        <a:pt x="849" y="1290"/>
                      </a:lnTo>
                      <a:lnTo>
                        <a:pt x="868" y="1277"/>
                      </a:lnTo>
                      <a:lnTo>
                        <a:pt x="885" y="1262"/>
                      </a:lnTo>
                      <a:lnTo>
                        <a:pt x="903" y="1248"/>
                      </a:lnTo>
                      <a:lnTo>
                        <a:pt x="919" y="1231"/>
                      </a:lnTo>
                      <a:lnTo>
                        <a:pt x="936" y="1215"/>
                      </a:lnTo>
                      <a:lnTo>
                        <a:pt x="952" y="1198"/>
                      </a:lnTo>
                      <a:lnTo>
                        <a:pt x="968" y="1179"/>
                      </a:lnTo>
                      <a:lnTo>
                        <a:pt x="983" y="1161"/>
                      </a:lnTo>
                      <a:lnTo>
                        <a:pt x="999" y="1142"/>
                      </a:lnTo>
                      <a:lnTo>
                        <a:pt x="1013" y="1122"/>
                      </a:lnTo>
                      <a:lnTo>
                        <a:pt x="1042" y="1081"/>
                      </a:lnTo>
                      <a:lnTo>
                        <a:pt x="1069" y="1039"/>
                      </a:lnTo>
                      <a:lnTo>
                        <a:pt x="1095" y="993"/>
                      </a:lnTo>
                      <a:lnTo>
                        <a:pt x="1119" y="948"/>
                      </a:lnTo>
                      <a:lnTo>
                        <a:pt x="1142" y="900"/>
                      </a:lnTo>
                      <a:lnTo>
                        <a:pt x="1165" y="851"/>
                      </a:lnTo>
                      <a:lnTo>
                        <a:pt x="1184" y="803"/>
                      </a:lnTo>
                      <a:lnTo>
                        <a:pt x="1204" y="753"/>
                      </a:lnTo>
                      <a:lnTo>
                        <a:pt x="1221" y="703"/>
                      </a:lnTo>
                      <a:lnTo>
                        <a:pt x="1239" y="654"/>
                      </a:lnTo>
                      <a:lnTo>
                        <a:pt x="1255" y="604"/>
                      </a:lnTo>
                      <a:lnTo>
                        <a:pt x="1269" y="554"/>
                      </a:lnTo>
                      <a:lnTo>
                        <a:pt x="1283" y="507"/>
                      </a:lnTo>
                      <a:lnTo>
                        <a:pt x="1295" y="459"/>
                      </a:lnTo>
                      <a:lnTo>
                        <a:pt x="1306" y="413"/>
                      </a:lnTo>
                      <a:lnTo>
                        <a:pt x="1327" y="326"/>
                      </a:lnTo>
                      <a:lnTo>
                        <a:pt x="1344" y="245"/>
                      </a:lnTo>
                      <a:lnTo>
                        <a:pt x="1356" y="175"/>
                      </a:lnTo>
                      <a:lnTo>
                        <a:pt x="1365" y="117"/>
                      </a:lnTo>
                      <a:lnTo>
                        <a:pt x="1373" y="71"/>
                      </a:lnTo>
                      <a:lnTo>
                        <a:pt x="1373" y="71"/>
                      </a:lnTo>
                      <a:lnTo>
                        <a:pt x="1327" y="77"/>
                      </a:lnTo>
                      <a:lnTo>
                        <a:pt x="1269" y="88"/>
                      </a:lnTo>
                      <a:lnTo>
                        <a:pt x="1199" y="100"/>
                      </a:lnTo>
                      <a:lnTo>
                        <a:pt x="1118" y="117"/>
                      </a:lnTo>
                      <a:lnTo>
                        <a:pt x="1031" y="137"/>
                      </a:lnTo>
                      <a:lnTo>
                        <a:pt x="984" y="149"/>
                      </a:lnTo>
                      <a:lnTo>
                        <a:pt x="937" y="161"/>
                      </a:lnTo>
                      <a:lnTo>
                        <a:pt x="888" y="175"/>
                      </a:lnTo>
                      <a:lnTo>
                        <a:pt x="840" y="189"/>
                      </a:lnTo>
                      <a:lnTo>
                        <a:pt x="790" y="205"/>
                      </a:lnTo>
                      <a:lnTo>
                        <a:pt x="740" y="222"/>
                      </a:lnTo>
                      <a:lnTo>
                        <a:pt x="691" y="240"/>
                      </a:lnTo>
                      <a:lnTo>
                        <a:pt x="641" y="259"/>
                      </a:lnTo>
                      <a:lnTo>
                        <a:pt x="592" y="279"/>
                      </a:lnTo>
                      <a:lnTo>
                        <a:pt x="544" y="301"/>
                      </a:lnTo>
                      <a:lnTo>
                        <a:pt x="496" y="325"/>
                      </a:lnTo>
                      <a:lnTo>
                        <a:pt x="449" y="348"/>
                      </a:lnTo>
                      <a:lnTo>
                        <a:pt x="405" y="374"/>
                      </a:lnTo>
                      <a:lnTo>
                        <a:pt x="363" y="401"/>
                      </a:lnTo>
                      <a:lnTo>
                        <a:pt x="321" y="430"/>
                      </a:lnTo>
                      <a:lnTo>
                        <a:pt x="301" y="445"/>
                      </a:lnTo>
                      <a:lnTo>
                        <a:pt x="282" y="460"/>
                      </a:lnTo>
                      <a:lnTo>
                        <a:pt x="264" y="476"/>
                      </a:lnTo>
                      <a:lnTo>
                        <a:pt x="246" y="491"/>
                      </a:lnTo>
                      <a:lnTo>
                        <a:pt x="229" y="508"/>
                      </a:lnTo>
                      <a:lnTo>
                        <a:pt x="212" y="524"/>
                      </a:lnTo>
                      <a:lnTo>
                        <a:pt x="196" y="541"/>
                      </a:lnTo>
                      <a:lnTo>
                        <a:pt x="181" y="559"/>
                      </a:lnTo>
                      <a:lnTo>
                        <a:pt x="167" y="576"/>
                      </a:lnTo>
                      <a:lnTo>
                        <a:pt x="153" y="595"/>
                      </a:lnTo>
                      <a:lnTo>
                        <a:pt x="141" y="613"/>
                      </a:lnTo>
                      <a:lnTo>
                        <a:pt x="129" y="632"/>
                      </a:lnTo>
                      <a:lnTo>
                        <a:pt x="118" y="652"/>
                      </a:lnTo>
                      <a:lnTo>
                        <a:pt x="108" y="671"/>
                      </a:lnTo>
                      <a:lnTo>
                        <a:pt x="108" y="671"/>
                      </a:lnTo>
                      <a:lnTo>
                        <a:pt x="102" y="687"/>
                      </a:lnTo>
                      <a:lnTo>
                        <a:pt x="95" y="702"/>
                      </a:lnTo>
                      <a:lnTo>
                        <a:pt x="89" y="718"/>
                      </a:lnTo>
                      <a:lnTo>
                        <a:pt x="84" y="734"/>
                      </a:lnTo>
                      <a:lnTo>
                        <a:pt x="80" y="750"/>
                      </a:lnTo>
                      <a:lnTo>
                        <a:pt x="76" y="766"/>
                      </a:lnTo>
                      <a:lnTo>
                        <a:pt x="73" y="783"/>
                      </a:lnTo>
                      <a:lnTo>
                        <a:pt x="71" y="800"/>
                      </a:lnTo>
                      <a:lnTo>
                        <a:pt x="69" y="816"/>
                      </a:lnTo>
                      <a:lnTo>
                        <a:pt x="68" y="834"/>
                      </a:lnTo>
                      <a:lnTo>
                        <a:pt x="67" y="850"/>
                      </a:lnTo>
                      <a:lnTo>
                        <a:pt x="67" y="868"/>
                      </a:lnTo>
                      <a:lnTo>
                        <a:pt x="68" y="885"/>
                      </a:lnTo>
                      <a:lnTo>
                        <a:pt x="69" y="903"/>
                      </a:lnTo>
                      <a:lnTo>
                        <a:pt x="74" y="938"/>
                      </a:lnTo>
                      <a:lnTo>
                        <a:pt x="80" y="974"/>
                      </a:lnTo>
                      <a:lnTo>
                        <a:pt x="90" y="1011"/>
                      </a:lnTo>
                      <a:lnTo>
                        <a:pt x="103" y="1048"/>
                      </a:lnTo>
                      <a:lnTo>
                        <a:pt x="117" y="1086"/>
                      </a:lnTo>
                      <a:lnTo>
                        <a:pt x="134" y="1125"/>
                      </a:lnTo>
                      <a:lnTo>
                        <a:pt x="153" y="1163"/>
                      </a:lnTo>
                      <a:lnTo>
                        <a:pt x="176" y="1202"/>
                      </a:lnTo>
                      <a:lnTo>
                        <a:pt x="201" y="1242"/>
                      </a:lnTo>
                      <a:lnTo>
                        <a:pt x="201" y="1242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7">
                  <a:extLst>
                    <a:ext uri="{FF2B5EF4-FFF2-40B4-BE49-F238E27FC236}">
                      <a16:creationId xmlns:a16="http://schemas.microsoft.com/office/drawing/2014/main" id="{1428892E-67C7-47AB-A79D-80209A862D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5288" y="2709863"/>
                  <a:ext cx="90488" cy="88900"/>
                </a:xfrm>
                <a:custGeom>
                  <a:avLst/>
                  <a:gdLst>
                    <a:gd name="T0" fmla="*/ 363 w 397"/>
                    <a:gd name="T1" fmla="*/ 396 h 396"/>
                    <a:gd name="T2" fmla="*/ 33 w 397"/>
                    <a:gd name="T3" fmla="*/ 396 h 396"/>
                    <a:gd name="T4" fmla="*/ 33 w 397"/>
                    <a:gd name="T5" fmla="*/ 396 h 396"/>
                    <a:gd name="T6" fmla="*/ 26 w 397"/>
                    <a:gd name="T7" fmla="*/ 395 h 396"/>
                    <a:gd name="T8" fmla="*/ 20 w 397"/>
                    <a:gd name="T9" fmla="*/ 394 h 396"/>
                    <a:gd name="T10" fmla="*/ 15 w 397"/>
                    <a:gd name="T11" fmla="*/ 391 h 396"/>
                    <a:gd name="T12" fmla="*/ 10 w 397"/>
                    <a:gd name="T13" fmla="*/ 387 h 396"/>
                    <a:gd name="T14" fmla="*/ 5 w 397"/>
                    <a:gd name="T15" fmla="*/ 382 h 396"/>
                    <a:gd name="T16" fmla="*/ 2 w 397"/>
                    <a:gd name="T17" fmla="*/ 377 h 396"/>
                    <a:gd name="T18" fmla="*/ 0 w 397"/>
                    <a:gd name="T19" fmla="*/ 370 h 396"/>
                    <a:gd name="T20" fmla="*/ 0 w 397"/>
                    <a:gd name="T21" fmla="*/ 363 h 396"/>
                    <a:gd name="T22" fmla="*/ 0 w 397"/>
                    <a:gd name="T23" fmla="*/ 33 h 396"/>
                    <a:gd name="T24" fmla="*/ 0 w 397"/>
                    <a:gd name="T25" fmla="*/ 33 h 396"/>
                    <a:gd name="T26" fmla="*/ 0 w 397"/>
                    <a:gd name="T27" fmla="*/ 26 h 396"/>
                    <a:gd name="T28" fmla="*/ 2 w 397"/>
                    <a:gd name="T29" fmla="*/ 20 h 396"/>
                    <a:gd name="T30" fmla="*/ 5 w 397"/>
                    <a:gd name="T31" fmla="*/ 15 h 396"/>
                    <a:gd name="T32" fmla="*/ 10 w 397"/>
                    <a:gd name="T33" fmla="*/ 9 h 396"/>
                    <a:gd name="T34" fmla="*/ 15 w 397"/>
                    <a:gd name="T35" fmla="*/ 5 h 396"/>
                    <a:gd name="T36" fmla="*/ 20 w 397"/>
                    <a:gd name="T37" fmla="*/ 2 h 396"/>
                    <a:gd name="T38" fmla="*/ 26 w 397"/>
                    <a:gd name="T39" fmla="*/ 0 h 396"/>
                    <a:gd name="T40" fmla="*/ 33 w 397"/>
                    <a:gd name="T41" fmla="*/ 0 h 396"/>
                    <a:gd name="T42" fmla="*/ 33 w 397"/>
                    <a:gd name="T43" fmla="*/ 0 h 396"/>
                    <a:gd name="T44" fmla="*/ 40 w 397"/>
                    <a:gd name="T45" fmla="*/ 0 h 396"/>
                    <a:gd name="T46" fmla="*/ 46 w 397"/>
                    <a:gd name="T47" fmla="*/ 2 h 396"/>
                    <a:gd name="T48" fmla="*/ 52 w 397"/>
                    <a:gd name="T49" fmla="*/ 5 h 396"/>
                    <a:gd name="T50" fmla="*/ 56 w 397"/>
                    <a:gd name="T51" fmla="*/ 9 h 396"/>
                    <a:gd name="T52" fmla="*/ 60 w 397"/>
                    <a:gd name="T53" fmla="*/ 15 h 396"/>
                    <a:gd name="T54" fmla="*/ 63 w 397"/>
                    <a:gd name="T55" fmla="*/ 20 h 396"/>
                    <a:gd name="T56" fmla="*/ 65 w 397"/>
                    <a:gd name="T57" fmla="*/ 26 h 396"/>
                    <a:gd name="T58" fmla="*/ 66 w 397"/>
                    <a:gd name="T59" fmla="*/ 33 h 396"/>
                    <a:gd name="T60" fmla="*/ 66 w 397"/>
                    <a:gd name="T61" fmla="*/ 330 h 396"/>
                    <a:gd name="T62" fmla="*/ 363 w 397"/>
                    <a:gd name="T63" fmla="*/ 330 h 396"/>
                    <a:gd name="T64" fmla="*/ 363 w 397"/>
                    <a:gd name="T65" fmla="*/ 330 h 396"/>
                    <a:gd name="T66" fmla="*/ 371 w 397"/>
                    <a:gd name="T67" fmla="*/ 331 h 396"/>
                    <a:gd name="T68" fmla="*/ 377 w 397"/>
                    <a:gd name="T69" fmla="*/ 333 h 396"/>
                    <a:gd name="T70" fmla="*/ 382 w 397"/>
                    <a:gd name="T71" fmla="*/ 336 h 396"/>
                    <a:gd name="T72" fmla="*/ 387 w 397"/>
                    <a:gd name="T73" fmla="*/ 340 h 396"/>
                    <a:gd name="T74" fmla="*/ 391 w 397"/>
                    <a:gd name="T75" fmla="*/ 345 h 396"/>
                    <a:gd name="T76" fmla="*/ 395 w 397"/>
                    <a:gd name="T77" fmla="*/ 351 h 396"/>
                    <a:gd name="T78" fmla="*/ 396 w 397"/>
                    <a:gd name="T79" fmla="*/ 357 h 396"/>
                    <a:gd name="T80" fmla="*/ 397 w 397"/>
                    <a:gd name="T81" fmla="*/ 363 h 396"/>
                    <a:gd name="T82" fmla="*/ 397 w 397"/>
                    <a:gd name="T83" fmla="*/ 363 h 396"/>
                    <a:gd name="T84" fmla="*/ 396 w 397"/>
                    <a:gd name="T85" fmla="*/ 370 h 396"/>
                    <a:gd name="T86" fmla="*/ 395 w 397"/>
                    <a:gd name="T87" fmla="*/ 377 h 396"/>
                    <a:gd name="T88" fmla="*/ 391 w 397"/>
                    <a:gd name="T89" fmla="*/ 382 h 396"/>
                    <a:gd name="T90" fmla="*/ 387 w 397"/>
                    <a:gd name="T91" fmla="*/ 387 h 396"/>
                    <a:gd name="T92" fmla="*/ 382 w 397"/>
                    <a:gd name="T93" fmla="*/ 391 h 396"/>
                    <a:gd name="T94" fmla="*/ 377 w 397"/>
                    <a:gd name="T95" fmla="*/ 394 h 396"/>
                    <a:gd name="T96" fmla="*/ 371 w 397"/>
                    <a:gd name="T97" fmla="*/ 395 h 396"/>
                    <a:gd name="T98" fmla="*/ 363 w 397"/>
                    <a:gd name="T99" fmla="*/ 396 h 396"/>
                    <a:gd name="T100" fmla="*/ 363 w 397"/>
                    <a:gd name="T101" fmla="*/ 396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97" h="396">
                      <a:moveTo>
                        <a:pt x="363" y="396"/>
                      </a:moveTo>
                      <a:lnTo>
                        <a:pt x="33" y="396"/>
                      </a:lnTo>
                      <a:lnTo>
                        <a:pt x="33" y="396"/>
                      </a:lnTo>
                      <a:lnTo>
                        <a:pt x="26" y="395"/>
                      </a:lnTo>
                      <a:lnTo>
                        <a:pt x="20" y="394"/>
                      </a:lnTo>
                      <a:lnTo>
                        <a:pt x="15" y="391"/>
                      </a:lnTo>
                      <a:lnTo>
                        <a:pt x="10" y="387"/>
                      </a:lnTo>
                      <a:lnTo>
                        <a:pt x="5" y="382"/>
                      </a:lnTo>
                      <a:lnTo>
                        <a:pt x="2" y="377"/>
                      </a:lnTo>
                      <a:lnTo>
                        <a:pt x="0" y="370"/>
                      </a:lnTo>
                      <a:lnTo>
                        <a:pt x="0" y="36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0" y="26"/>
                      </a:lnTo>
                      <a:lnTo>
                        <a:pt x="2" y="20"/>
                      </a:lnTo>
                      <a:lnTo>
                        <a:pt x="5" y="15"/>
                      </a:lnTo>
                      <a:lnTo>
                        <a:pt x="10" y="9"/>
                      </a:lnTo>
                      <a:lnTo>
                        <a:pt x="15" y="5"/>
                      </a:lnTo>
                      <a:lnTo>
                        <a:pt x="20" y="2"/>
                      </a:lnTo>
                      <a:lnTo>
                        <a:pt x="26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40" y="0"/>
                      </a:lnTo>
                      <a:lnTo>
                        <a:pt x="46" y="2"/>
                      </a:lnTo>
                      <a:lnTo>
                        <a:pt x="52" y="5"/>
                      </a:lnTo>
                      <a:lnTo>
                        <a:pt x="56" y="9"/>
                      </a:lnTo>
                      <a:lnTo>
                        <a:pt x="60" y="15"/>
                      </a:lnTo>
                      <a:lnTo>
                        <a:pt x="63" y="20"/>
                      </a:lnTo>
                      <a:lnTo>
                        <a:pt x="65" y="26"/>
                      </a:lnTo>
                      <a:lnTo>
                        <a:pt x="66" y="33"/>
                      </a:lnTo>
                      <a:lnTo>
                        <a:pt x="66" y="330"/>
                      </a:lnTo>
                      <a:lnTo>
                        <a:pt x="363" y="330"/>
                      </a:lnTo>
                      <a:lnTo>
                        <a:pt x="363" y="330"/>
                      </a:lnTo>
                      <a:lnTo>
                        <a:pt x="371" y="331"/>
                      </a:lnTo>
                      <a:lnTo>
                        <a:pt x="377" y="333"/>
                      </a:lnTo>
                      <a:lnTo>
                        <a:pt x="382" y="336"/>
                      </a:lnTo>
                      <a:lnTo>
                        <a:pt x="387" y="340"/>
                      </a:lnTo>
                      <a:lnTo>
                        <a:pt x="391" y="345"/>
                      </a:lnTo>
                      <a:lnTo>
                        <a:pt x="395" y="351"/>
                      </a:lnTo>
                      <a:lnTo>
                        <a:pt x="396" y="357"/>
                      </a:lnTo>
                      <a:lnTo>
                        <a:pt x="397" y="363"/>
                      </a:lnTo>
                      <a:lnTo>
                        <a:pt x="397" y="363"/>
                      </a:lnTo>
                      <a:lnTo>
                        <a:pt x="396" y="370"/>
                      </a:lnTo>
                      <a:lnTo>
                        <a:pt x="395" y="377"/>
                      </a:lnTo>
                      <a:lnTo>
                        <a:pt x="391" y="382"/>
                      </a:lnTo>
                      <a:lnTo>
                        <a:pt x="387" y="387"/>
                      </a:lnTo>
                      <a:lnTo>
                        <a:pt x="382" y="391"/>
                      </a:lnTo>
                      <a:lnTo>
                        <a:pt x="377" y="394"/>
                      </a:lnTo>
                      <a:lnTo>
                        <a:pt x="371" y="395"/>
                      </a:lnTo>
                      <a:lnTo>
                        <a:pt x="363" y="396"/>
                      </a:lnTo>
                      <a:lnTo>
                        <a:pt x="363" y="39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8">
                  <a:extLst>
                    <a:ext uri="{FF2B5EF4-FFF2-40B4-BE49-F238E27FC236}">
                      <a16:creationId xmlns:a16="http://schemas.microsoft.com/office/drawing/2014/main" id="{3DBFF15E-E498-44C0-96E4-A04B96E78F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5613" y="2671763"/>
                  <a:ext cx="68263" cy="68263"/>
                </a:xfrm>
                <a:custGeom>
                  <a:avLst/>
                  <a:gdLst>
                    <a:gd name="T0" fmla="*/ 265 w 298"/>
                    <a:gd name="T1" fmla="*/ 298 h 298"/>
                    <a:gd name="T2" fmla="*/ 33 w 298"/>
                    <a:gd name="T3" fmla="*/ 298 h 298"/>
                    <a:gd name="T4" fmla="*/ 33 w 298"/>
                    <a:gd name="T5" fmla="*/ 298 h 298"/>
                    <a:gd name="T6" fmla="*/ 27 w 298"/>
                    <a:gd name="T7" fmla="*/ 296 h 298"/>
                    <a:gd name="T8" fmla="*/ 21 w 298"/>
                    <a:gd name="T9" fmla="*/ 294 h 298"/>
                    <a:gd name="T10" fmla="*/ 15 w 298"/>
                    <a:gd name="T11" fmla="*/ 291 h 298"/>
                    <a:gd name="T12" fmla="*/ 10 w 298"/>
                    <a:gd name="T13" fmla="*/ 287 h 298"/>
                    <a:gd name="T14" fmla="*/ 6 w 298"/>
                    <a:gd name="T15" fmla="*/ 282 h 298"/>
                    <a:gd name="T16" fmla="*/ 3 w 298"/>
                    <a:gd name="T17" fmla="*/ 277 h 298"/>
                    <a:gd name="T18" fmla="*/ 1 w 298"/>
                    <a:gd name="T19" fmla="*/ 271 h 298"/>
                    <a:gd name="T20" fmla="*/ 0 w 298"/>
                    <a:gd name="T21" fmla="*/ 264 h 298"/>
                    <a:gd name="T22" fmla="*/ 0 w 298"/>
                    <a:gd name="T23" fmla="*/ 33 h 298"/>
                    <a:gd name="T24" fmla="*/ 0 w 298"/>
                    <a:gd name="T25" fmla="*/ 33 h 298"/>
                    <a:gd name="T26" fmla="*/ 1 w 298"/>
                    <a:gd name="T27" fmla="*/ 26 h 298"/>
                    <a:gd name="T28" fmla="*/ 3 w 298"/>
                    <a:gd name="T29" fmla="*/ 20 h 298"/>
                    <a:gd name="T30" fmla="*/ 6 w 298"/>
                    <a:gd name="T31" fmla="*/ 14 h 298"/>
                    <a:gd name="T32" fmla="*/ 10 w 298"/>
                    <a:gd name="T33" fmla="*/ 9 h 298"/>
                    <a:gd name="T34" fmla="*/ 15 w 298"/>
                    <a:gd name="T35" fmla="*/ 6 h 298"/>
                    <a:gd name="T36" fmla="*/ 21 w 298"/>
                    <a:gd name="T37" fmla="*/ 3 h 298"/>
                    <a:gd name="T38" fmla="*/ 27 w 298"/>
                    <a:gd name="T39" fmla="*/ 1 h 298"/>
                    <a:gd name="T40" fmla="*/ 33 w 298"/>
                    <a:gd name="T41" fmla="*/ 0 h 298"/>
                    <a:gd name="T42" fmla="*/ 33 w 298"/>
                    <a:gd name="T43" fmla="*/ 0 h 298"/>
                    <a:gd name="T44" fmla="*/ 40 w 298"/>
                    <a:gd name="T45" fmla="*/ 1 h 298"/>
                    <a:gd name="T46" fmla="*/ 47 w 298"/>
                    <a:gd name="T47" fmla="*/ 3 h 298"/>
                    <a:gd name="T48" fmla="*/ 52 w 298"/>
                    <a:gd name="T49" fmla="*/ 6 h 298"/>
                    <a:gd name="T50" fmla="*/ 57 w 298"/>
                    <a:gd name="T51" fmla="*/ 9 h 298"/>
                    <a:gd name="T52" fmla="*/ 61 w 298"/>
                    <a:gd name="T53" fmla="*/ 14 h 298"/>
                    <a:gd name="T54" fmla="*/ 64 w 298"/>
                    <a:gd name="T55" fmla="*/ 20 h 298"/>
                    <a:gd name="T56" fmla="*/ 66 w 298"/>
                    <a:gd name="T57" fmla="*/ 26 h 298"/>
                    <a:gd name="T58" fmla="*/ 66 w 298"/>
                    <a:gd name="T59" fmla="*/ 33 h 298"/>
                    <a:gd name="T60" fmla="*/ 66 w 298"/>
                    <a:gd name="T61" fmla="*/ 231 h 298"/>
                    <a:gd name="T62" fmla="*/ 265 w 298"/>
                    <a:gd name="T63" fmla="*/ 231 h 298"/>
                    <a:gd name="T64" fmla="*/ 265 w 298"/>
                    <a:gd name="T65" fmla="*/ 231 h 298"/>
                    <a:gd name="T66" fmla="*/ 271 w 298"/>
                    <a:gd name="T67" fmla="*/ 231 h 298"/>
                    <a:gd name="T68" fmla="*/ 277 w 298"/>
                    <a:gd name="T69" fmla="*/ 233 h 298"/>
                    <a:gd name="T70" fmla="*/ 284 w 298"/>
                    <a:gd name="T71" fmla="*/ 236 h 298"/>
                    <a:gd name="T72" fmla="*/ 289 w 298"/>
                    <a:gd name="T73" fmla="*/ 241 h 298"/>
                    <a:gd name="T74" fmla="*/ 292 w 298"/>
                    <a:gd name="T75" fmla="*/ 246 h 298"/>
                    <a:gd name="T76" fmla="*/ 295 w 298"/>
                    <a:gd name="T77" fmla="*/ 251 h 298"/>
                    <a:gd name="T78" fmla="*/ 297 w 298"/>
                    <a:gd name="T79" fmla="*/ 257 h 298"/>
                    <a:gd name="T80" fmla="*/ 298 w 298"/>
                    <a:gd name="T81" fmla="*/ 264 h 298"/>
                    <a:gd name="T82" fmla="*/ 298 w 298"/>
                    <a:gd name="T83" fmla="*/ 264 h 298"/>
                    <a:gd name="T84" fmla="*/ 297 w 298"/>
                    <a:gd name="T85" fmla="*/ 271 h 298"/>
                    <a:gd name="T86" fmla="*/ 295 w 298"/>
                    <a:gd name="T87" fmla="*/ 277 h 298"/>
                    <a:gd name="T88" fmla="*/ 292 w 298"/>
                    <a:gd name="T89" fmla="*/ 282 h 298"/>
                    <a:gd name="T90" fmla="*/ 289 w 298"/>
                    <a:gd name="T91" fmla="*/ 287 h 298"/>
                    <a:gd name="T92" fmla="*/ 284 w 298"/>
                    <a:gd name="T93" fmla="*/ 291 h 298"/>
                    <a:gd name="T94" fmla="*/ 277 w 298"/>
                    <a:gd name="T95" fmla="*/ 294 h 298"/>
                    <a:gd name="T96" fmla="*/ 271 w 298"/>
                    <a:gd name="T97" fmla="*/ 296 h 298"/>
                    <a:gd name="T98" fmla="*/ 265 w 298"/>
                    <a:gd name="T99" fmla="*/ 298 h 298"/>
                    <a:gd name="T100" fmla="*/ 265 w 298"/>
                    <a:gd name="T101" fmla="*/ 298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98" h="298">
                      <a:moveTo>
                        <a:pt x="265" y="298"/>
                      </a:moveTo>
                      <a:lnTo>
                        <a:pt x="33" y="298"/>
                      </a:lnTo>
                      <a:lnTo>
                        <a:pt x="33" y="298"/>
                      </a:lnTo>
                      <a:lnTo>
                        <a:pt x="27" y="296"/>
                      </a:lnTo>
                      <a:lnTo>
                        <a:pt x="21" y="294"/>
                      </a:lnTo>
                      <a:lnTo>
                        <a:pt x="15" y="291"/>
                      </a:lnTo>
                      <a:lnTo>
                        <a:pt x="10" y="287"/>
                      </a:lnTo>
                      <a:lnTo>
                        <a:pt x="6" y="282"/>
                      </a:lnTo>
                      <a:lnTo>
                        <a:pt x="3" y="277"/>
                      </a:lnTo>
                      <a:lnTo>
                        <a:pt x="1" y="271"/>
                      </a:lnTo>
                      <a:lnTo>
                        <a:pt x="0" y="264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26"/>
                      </a:lnTo>
                      <a:lnTo>
                        <a:pt x="3" y="20"/>
                      </a:lnTo>
                      <a:lnTo>
                        <a:pt x="6" y="14"/>
                      </a:lnTo>
                      <a:lnTo>
                        <a:pt x="10" y="9"/>
                      </a:lnTo>
                      <a:lnTo>
                        <a:pt x="15" y="6"/>
                      </a:lnTo>
                      <a:lnTo>
                        <a:pt x="21" y="3"/>
                      </a:lnTo>
                      <a:lnTo>
                        <a:pt x="27" y="1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40" y="1"/>
                      </a:lnTo>
                      <a:lnTo>
                        <a:pt x="47" y="3"/>
                      </a:lnTo>
                      <a:lnTo>
                        <a:pt x="52" y="6"/>
                      </a:lnTo>
                      <a:lnTo>
                        <a:pt x="57" y="9"/>
                      </a:lnTo>
                      <a:lnTo>
                        <a:pt x="61" y="14"/>
                      </a:lnTo>
                      <a:lnTo>
                        <a:pt x="64" y="20"/>
                      </a:lnTo>
                      <a:lnTo>
                        <a:pt x="66" y="26"/>
                      </a:lnTo>
                      <a:lnTo>
                        <a:pt x="66" y="33"/>
                      </a:lnTo>
                      <a:lnTo>
                        <a:pt x="66" y="231"/>
                      </a:lnTo>
                      <a:lnTo>
                        <a:pt x="265" y="231"/>
                      </a:lnTo>
                      <a:lnTo>
                        <a:pt x="265" y="231"/>
                      </a:lnTo>
                      <a:lnTo>
                        <a:pt x="271" y="231"/>
                      </a:lnTo>
                      <a:lnTo>
                        <a:pt x="277" y="233"/>
                      </a:lnTo>
                      <a:lnTo>
                        <a:pt x="284" y="236"/>
                      </a:lnTo>
                      <a:lnTo>
                        <a:pt x="289" y="241"/>
                      </a:lnTo>
                      <a:lnTo>
                        <a:pt x="292" y="246"/>
                      </a:lnTo>
                      <a:lnTo>
                        <a:pt x="295" y="251"/>
                      </a:lnTo>
                      <a:lnTo>
                        <a:pt x="297" y="257"/>
                      </a:lnTo>
                      <a:lnTo>
                        <a:pt x="298" y="264"/>
                      </a:lnTo>
                      <a:lnTo>
                        <a:pt x="298" y="264"/>
                      </a:lnTo>
                      <a:lnTo>
                        <a:pt x="297" y="271"/>
                      </a:lnTo>
                      <a:lnTo>
                        <a:pt x="295" y="277"/>
                      </a:lnTo>
                      <a:lnTo>
                        <a:pt x="292" y="282"/>
                      </a:lnTo>
                      <a:lnTo>
                        <a:pt x="289" y="287"/>
                      </a:lnTo>
                      <a:lnTo>
                        <a:pt x="284" y="291"/>
                      </a:lnTo>
                      <a:lnTo>
                        <a:pt x="277" y="294"/>
                      </a:lnTo>
                      <a:lnTo>
                        <a:pt x="271" y="296"/>
                      </a:lnTo>
                      <a:lnTo>
                        <a:pt x="265" y="298"/>
                      </a:lnTo>
                      <a:lnTo>
                        <a:pt x="265" y="298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9">
                  <a:extLst>
                    <a:ext uri="{FF2B5EF4-FFF2-40B4-BE49-F238E27FC236}">
                      <a16:creationId xmlns:a16="http://schemas.microsoft.com/office/drawing/2014/main" id="{37113AAC-B846-4343-B53B-6B33A5D1D6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25938" y="2641600"/>
                  <a:ext cx="38100" cy="38100"/>
                </a:xfrm>
                <a:custGeom>
                  <a:avLst/>
                  <a:gdLst>
                    <a:gd name="T0" fmla="*/ 133 w 166"/>
                    <a:gd name="T1" fmla="*/ 166 h 166"/>
                    <a:gd name="T2" fmla="*/ 33 w 166"/>
                    <a:gd name="T3" fmla="*/ 166 h 166"/>
                    <a:gd name="T4" fmla="*/ 33 w 166"/>
                    <a:gd name="T5" fmla="*/ 166 h 166"/>
                    <a:gd name="T6" fmla="*/ 26 w 166"/>
                    <a:gd name="T7" fmla="*/ 165 h 166"/>
                    <a:gd name="T8" fmla="*/ 20 w 166"/>
                    <a:gd name="T9" fmla="*/ 164 h 166"/>
                    <a:gd name="T10" fmla="*/ 15 w 166"/>
                    <a:gd name="T11" fmla="*/ 160 h 166"/>
                    <a:gd name="T12" fmla="*/ 9 w 166"/>
                    <a:gd name="T13" fmla="*/ 156 h 166"/>
                    <a:gd name="T14" fmla="*/ 5 w 166"/>
                    <a:gd name="T15" fmla="*/ 151 h 166"/>
                    <a:gd name="T16" fmla="*/ 2 w 166"/>
                    <a:gd name="T17" fmla="*/ 146 h 166"/>
                    <a:gd name="T18" fmla="*/ 1 w 166"/>
                    <a:gd name="T19" fmla="*/ 140 h 166"/>
                    <a:gd name="T20" fmla="*/ 0 w 166"/>
                    <a:gd name="T21" fmla="*/ 133 h 166"/>
                    <a:gd name="T22" fmla="*/ 0 w 166"/>
                    <a:gd name="T23" fmla="*/ 33 h 166"/>
                    <a:gd name="T24" fmla="*/ 0 w 166"/>
                    <a:gd name="T25" fmla="*/ 33 h 166"/>
                    <a:gd name="T26" fmla="*/ 1 w 166"/>
                    <a:gd name="T27" fmla="*/ 27 h 166"/>
                    <a:gd name="T28" fmla="*/ 2 w 166"/>
                    <a:gd name="T29" fmla="*/ 21 h 166"/>
                    <a:gd name="T30" fmla="*/ 5 w 166"/>
                    <a:gd name="T31" fmla="*/ 15 h 166"/>
                    <a:gd name="T32" fmla="*/ 9 w 166"/>
                    <a:gd name="T33" fmla="*/ 10 h 166"/>
                    <a:gd name="T34" fmla="*/ 15 w 166"/>
                    <a:gd name="T35" fmla="*/ 6 h 166"/>
                    <a:gd name="T36" fmla="*/ 20 w 166"/>
                    <a:gd name="T37" fmla="*/ 3 h 166"/>
                    <a:gd name="T38" fmla="*/ 26 w 166"/>
                    <a:gd name="T39" fmla="*/ 1 h 166"/>
                    <a:gd name="T40" fmla="*/ 33 w 166"/>
                    <a:gd name="T41" fmla="*/ 0 h 166"/>
                    <a:gd name="T42" fmla="*/ 33 w 166"/>
                    <a:gd name="T43" fmla="*/ 0 h 166"/>
                    <a:gd name="T44" fmla="*/ 39 w 166"/>
                    <a:gd name="T45" fmla="*/ 1 h 166"/>
                    <a:gd name="T46" fmla="*/ 46 w 166"/>
                    <a:gd name="T47" fmla="*/ 3 h 166"/>
                    <a:gd name="T48" fmla="*/ 52 w 166"/>
                    <a:gd name="T49" fmla="*/ 6 h 166"/>
                    <a:gd name="T50" fmla="*/ 56 w 166"/>
                    <a:gd name="T51" fmla="*/ 10 h 166"/>
                    <a:gd name="T52" fmla="*/ 60 w 166"/>
                    <a:gd name="T53" fmla="*/ 15 h 166"/>
                    <a:gd name="T54" fmla="*/ 63 w 166"/>
                    <a:gd name="T55" fmla="*/ 21 h 166"/>
                    <a:gd name="T56" fmla="*/ 65 w 166"/>
                    <a:gd name="T57" fmla="*/ 27 h 166"/>
                    <a:gd name="T58" fmla="*/ 66 w 166"/>
                    <a:gd name="T59" fmla="*/ 33 h 166"/>
                    <a:gd name="T60" fmla="*/ 66 w 166"/>
                    <a:gd name="T61" fmla="*/ 99 h 166"/>
                    <a:gd name="T62" fmla="*/ 133 w 166"/>
                    <a:gd name="T63" fmla="*/ 99 h 166"/>
                    <a:gd name="T64" fmla="*/ 133 w 166"/>
                    <a:gd name="T65" fmla="*/ 99 h 166"/>
                    <a:gd name="T66" fmla="*/ 139 w 166"/>
                    <a:gd name="T67" fmla="*/ 100 h 166"/>
                    <a:gd name="T68" fmla="*/ 145 w 166"/>
                    <a:gd name="T69" fmla="*/ 103 h 166"/>
                    <a:gd name="T70" fmla="*/ 151 w 166"/>
                    <a:gd name="T71" fmla="*/ 106 h 166"/>
                    <a:gd name="T72" fmla="*/ 155 w 166"/>
                    <a:gd name="T73" fmla="*/ 109 h 166"/>
                    <a:gd name="T74" fmla="*/ 159 w 166"/>
                    <a:gd name="T75" fmla="*/ 114 h 166"/>
                    <a:gd name="T76" fmla="*/ 163 w 166"/>
                    <a:gd name="T77" fmla="*/ 120 h 166"/>
                    <a:gd name="T78" fmla="*/ 165 w 166"/>
                    <a:gd name="T79" fmla="*/ 126 h 166"/>
                    <a:gd name="T80" fmla="*/ 166 w 166"/>
                    <a:gd name="T81" fmla="*/ 133 h 166"/>
                    <a:gd name="T82" fmla="*/ 166 w 166"/>
                    <a:gd name="T83" fmla="*/ 133 h 166"/>
                    <a:gd name="T84" fmla="*/ 165 w 166"/>
                    <a:gd name="T85" fmla="*/ 140 h 166"/>
                    <a:gd name="T86" fmla="*/ 163 w 166"/>
                    <a:gd name="T87" fmla="*/ 146 h 166"/>
                    <a:gd name="T88" fmla="*/ 159 w 166"/>
                    <a:gd name="T89" fmla="*/ 151 h 166"/>
                    <a:gd name="T90" fmla="*/ 155 w 166"/>
                    <a:gd name="T91" fmla="*/ 156 h 166"/>
                    <a:gd name="T92" fmla="*/ 151 w 166"/>
                    <a:gd name="T93" fmla="*/ 160 h 166"/>
                    <a:gd name="T94" fmla="*/ 145 w 166"/>
                    <a:gd name="T95" fmla="*/ 164 h 166"/>
                    <a:gd name="T96" fmla="*/ 139 w 166"/>
                    <a:gd name="T97" fmla="*/ 165 h 166"/>
                    <a:gd name="T98" fmla="*/ 133 w 166"/>
                    <a:gd name="T99" fmla="*/ 166 h 166"/>
                    <a:gd name="T100" fmla="*/ 133 w 166"/>
                    <a:gd name="T101" fmla="*/ 166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66" h="166">
                      <a:moveTo>
                        <a:pt x="133" y="166"/>
                      </a:moveTo>
                      <a:lnTo>
                        <a:pt x="33" y="166"/>
                      </a:lnTo>
                      <a:lnTo>
                        <a:pt x="33" y="166"/>
                      </a:lnTo>
                      <a:lnTo>
                        <a:pt x="26" y="165"/>
                      </a:lnTo>
                      <a:lnTo>
                        <a:pt x="20" y="164"/>
                      </a:lnTo>
                      <a:lnTo>
                        <a:pt x="15" y="160"/>
                      </a:lnTo>
                      <a:lnTo>
                        <a:pt x="9" y="156"/>
                      </a:lnTo>
                      <a:lnTo>
                        <a:pt x="5" y="151"/>
                      </a:lnTo>
                      <a:lnTo>
                        <a:pt x="2" y="146"/>
                      </a:lnTo>
                      <a:lnTo>
                        <a:pt x="1" y="140"/>
                      </a:lnTo>
                      <a:lnTo>
                        <a:pt x="0" y="13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27"/>
                      </a:lnTo>
                      <a:lnTo>
                        <a:pt x="2" y="21"/>
                      </a:lnTo>
                      <a:lnTo>
                        <a:pt x="5" y="15"/>
                      </a:lnTo>
                      <a:lnTo>
                        <a:pt x="9" y="10"/>
                      </a:lnTo>
                      <a:lnTo>
                        <a:pt x="15" y="6"/>
                      </a:lnTo>
                      <a:lnTo>
                        <a:pt x="20" y="3"/>
                      </a:lnTo>
                      <a:lnTo>
                        <a:pt x="26" y="1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9" y="1"/>
                      </a:lnTo>
                      <a:lnTo>
                        <a:pt x="46" y="3"/>
                      </a:lnTo>
                      <a:lnTo>
                        <a:pt x="52" y="6"/>
                      </a:lnTo>
                      <a:lnTo>
                        <a:pt x="56" y="10"/>
                      </a:lnTo>
                      <a:lnTo>
                        <a:pt x="60" y="15"/>
                      </a:lnTo>
                      <a:lnTo>
                        <a:pt x="63" y="21"/>
                      </a:lnTo>
                      <a:lnTo>
                        <a:pt x="65" y="27"/>
                      </a:lnTo>
                      <a:lnTo>
                        <a:pt x="66" y="33"/>
                      </a:lnTo>
                      <a:lnTo>
                        <a:pt x="66" y="99"/>
                      </a:lnTo>
                      <a:lnTo>
                        <a:pt x="133" y="99"/>
                      </a:lnTo>
                      <a:lnTo>
                        <a:pt x="133" y="99"/>
                      </a:lnTo>
                      <a:lnTo>
                        <a:pt x="139" y="100"/>
                      </a:lnTo>
                      <a:lnTo>
                        <a:pt x="145" y="103"/>
                      </a:lnTo>
                      <a:lnTo>
                        <a:pt x="151" y="106"/>
                      </a:lnTo>
                      <a:lnTo>
                        <a:pt x="155" y="109"/>
                      </a:lnTo>
                      <a:lnTo>
                        <a:pt x="159" y="114"/>
                      </a:lnTo>
                      <a:lnTo>
                        <a:pt x="163" y="120"/>
                      </a:lnTo>
                      <a:lnTo>
                        <a:pt x="165" y="126"/>
                      </a:lnTo>
                      <a:lnTo>
                        <a:pt x="166" y="133"/>
                      </a:lnTo>
                      <a:lnTo>
                        <a:pt x="166" y="133"/>
                      </a:lnTo>
                      <a:lnTo>
                        <a:pt x="165" y="140"/>
                      </a:lnTo>
                      <a:lnTo>
                        <a:pt x="163" y="146"/>
                      </a:lnTo>
                      <a:lnTo>
                        <a:pt x="159" y="151"/>
                      </a:lnTo>
                      <a:lnTo>
                        <a:pt x="155" y="156"/>
                      </a:lnTo>
                      <a:lnTo>
                        <a:pt x="151" y="160"/>
                      </a:lnTo>
                      <a:lnTo>
                        <a:pt x="145" y="164"/>
                      </a:lnTo>
                      <a:lnTo>
                        <a:pt x="139" y="165"/>
                      </a:lnTo>
                      <a:lnTo>
                        <a:pt x="133" y="166"/>
                      </a:lnTo>
                      <a:lnTo>
                        <a:pt x="133" y="16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09730245"/>
      </p:ext>
    </p:extLst>
  </p:cSld>
  <p:clrMapOvr>
    <a:masterClrMapping/>
  </p:clrMapOvr>
  <p:transition spd="slow" advTm="9000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E62FE0E-AFCC-46A2-A90D-8F7193261828}"/>
              </a:ext>
            </a:extLst>
          </p:cNvPr>
          <p:cNvSpPr/>
          <p:nvPr/>
        </p:nvSpPr>
        <p:spPr>
          <a:xfrm>
            <a:off x="0" y="-1"/>
            <a:ext cx="12192000" cy="5532409"/>
          </a:xfrm>
          <a:prstGeom prst="rect">
            <a:avLst/>
          </a:prstGeom>
          <a:gradFill flip="none" rotWithShape="1">
            <a:gsLst>
              <a:gs pos="0">
                <a:srgbClr val="30574C"/>
              </a:gs>
              <a:gs pos="45000">
                <a:srgbClr val="50745C"/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614DD6-1171-4415-84E9-E34077D88D71}"/>
              </a:ext>
            </a:extLst>
          </p:cNvPr>
          <p:cNvGrpSpPr/>
          <p:nvPr/>
        </p:nvGrpSpPr>
        <p:grpSpPr>
          <a:xfrm>
            <a:off x="9436937" y="3691996"/>
            <a:ext cx="2934631" cy="2724702"/>
            <a:chOff x="9436937" y="3691996"/>
            <a:chExt cx="2934631" cy="2724702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36DA421F-49D0-4CCE-A452-21F5C2D37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1F665891-2963-41FE-83BE-B4A2AABE62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0D21FDC3-F6A5-40D4-AFA4-708AE924F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32" name="Graphic 460">
              <a:extLst>
                <a:ext uri="{FF2B5EF4-FFF2-40B4-BE49-F238E27FC236}">
                  <a16:creationId xmlns:a16="http://schemas.microsoft.com/office/drawing/2014/main" id="{F433D9C5-01CD-4408-A2EF-C7D04AA47B0C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62174154-F6F8-459C-8D65-A07475B59702}"/>
              </a:ext>
            </a:extLst>
          </p:cNvPr>
          <p:cNvSpPr txBox="1"/>
          <p:nvPr/>
        </p:nvSpPr>
        <p:spPr>
          <a:xfrm>
            <a:off x="2262100" y="2674947"/>
            <a:ext cx="3848686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</a:rPr>
              <a:t>Growing use of LL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</a:rPr>
              <a:t>lack of awareness - carbon footprint</a:t>
            </a:r>
          </a:p>
          <a:p>
            <a:endParaRPr lang="en-GB" sz="1400">
              <a:solidFill>
                <a:schemeClr val="bg1"/>
              </a:solidFill>
            </a:endParaRPr>
          </a:p>
          <a:p>
            <a:r>
              <a:rPr lang="en-GB" sz="1400">
                <a:solidFill>
                  <a:schemeClr val="bg1"/>
                </a:solidFill>
              </a:rPr>
              <a:t>Create a solution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</a:rPr>
              <a:t>highlights this issu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</a:rPr>
              <a:t>empowers users to take actionable steps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0C42D1-9CAB-4B5A-9358-F35F87B21F4E}"/>
              </a:ext>
            </a:extLst>
          </p:cNvPr>
          <p:cNvSpPr txBox="1"/>
          <p:nvPr/>
        </p:nvSpPr>
        <p:spPr>
          <a:xfrm>
            <a:off x="2262098" y="2082403"/>
            <a:ext cx="35874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Sustainab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FE6338-F047-4D7D-804F-2FCD7FD5548E}"/>
              </a:ext>
            </a:extLst>
          </p:cNvPr>
          <p:cNvSpPr txBox="1"/>
          <p:nvPr/>
        </p:nvSpPr>
        <p:spPr>
          <a:xfrm>
            <a:off x="1335168" y="843119"/>
            <a:ext cx="47224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>
                <a:solidFill>
                  <a:srgbClr val="E1BE63"/>
                </a:solidFill>
              </a:rPr>
              <a:t>Ou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FE1F7A-34D5-4570-AE03-AB910E2C4B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77436" y="5350153"/>
            <a:ext cx="2318247" cy="171216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228AD11-43AA-4E33-84DD-9F77AE02776B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564A70D-9363-494F-B2B4-EA11EDAD98A9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ACF3565-B418-4FDA-A614-19E261F7B7FD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77C148A-C32A-4DE8-926F-BA12B1C51CB3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6D1E16F-DEAD-4B73-BA29-23B993ABB44A}"/>
              </a:ext>
            </a:extLst>
          </p:cNvPr>
          <p:cNvSpPr txBox="1"/>
          <p:nvPr/>
        </p:nvSpPr>
        <p:spPr>
          <a:xfrm>
            <a:off x="1335168" y="1200062"/>
            <a:ext cx="508952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b="1">
                <a:solidFill>
                  <a:schemeClr val="bg1"/>
                </a:solidFill>
              </a:rPr>
              <a:t>Inspiration</a:t>
            </a:r>
            <a:endParaRPr lang="en-US" sz="4000" b="1">
              <a:solidFill>
                <a:srgbClr val="E1BE63"/>
              </a:solidFill>
            </a:endParaRPr>
          </a:p>
        </p:txBody>
      </p:sp>
      <p:pic>
        <p:nvPicPr>
          <p:cNvPr id="8" name="Picture 7" descr="Green-leafed Plant">
            <a:extLst>
              <a:ext uri="{FF2B5EF4-FFF2-40B4-BE49-F238E27FC236}">
                <a16:creationId xmlns:a16="http://schemas.microsoft.com/office/drawing/2014/main" id="{9757DC33-F07F-E786-29E0-FE8900F9F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53"/>
          <a:stretch>
            <a:fillRect/>
          </a:stretch>
        </p:blipFill>
        <p:spPr bwMode="auto">
          <a:xfrm>
            <a:off x="7534713" y="0"/>
            <a:ext cx="4673599" cy="5871029"/>
          </a:xfrm>
          <a:custGeom>
            <a:avLst/>
            <a:gdLst>
              <a:gd name="connsiteX0" fmla="*/ 778949 w 4673599"/>
              <a:gd name="connsiteY0" fmla="*/ 0 h 5871029"/>
              <a:gd name="connsiteX1" fmla="*/ 4673599 w 4673599"/>
              <a:gd name="connsiteY1" fmla="*/ 0 h 5871029"/>
              <a:gd name="connsiteX2" fmla="*/ 4673599 w 4673599"/>
              <a:gd name="connsiteY2" fmla="*/ 5871029 h 5871029"/>
              <a:gd name="connsiteX3" fmla="*/ 0 w 4673599"/>
              <a:gd name="connsiteY3" fmla="*/ 5871029 h 5871029"/>
              <a:gd name="connsiteX4" fmla="*/ 0 w 4673599"/>
              <a:gd name="connsiteY4" fmla="*/ 778949 h 5871029"/>
              <a:gd name="connsiteX5" fmla="*/ 778949 w 4673599"/>
              <a:gd name="connsiteY5" fmla="*/ 0 h 587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3599" h="5871029">
                <a:moveTo>
                  <a:pt x="778949" y="0"/>
                </a:moveTo>
                <a:lnTo>
                  <a:pt x="4673599" y="0"/>
                </a:lnTo>
                <a:lnTo>
                  <a:pt x="4673599" y="5871029"/>
                </a:lnTo>
                <a:lnTo>
                  <a:pt x="0" y="5871029"/>
                </a:lnTo>
                <a:lnTo>
                  <a:pt x="0" y="778949"/>
                </a:lnTo>
                <a:cubicBezTo>
                  <a:pt x="0" y="348747"/>
                  <a:pt x="348747" y="0"/>
                  <a:pt x="77894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B5C1167-EBCA-1182-B52E-6544832D39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3978" y="-601138"/>
            <a:ext cx="2816472" cy="167688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F2E723-AD82-A383-341B-F62876BBB5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1859" y="1174161"/>
            <a:ext cx="1388163" cy="194674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FAAAF1B-25C8-4AD2-A6A7-C5DFA6CDE5F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41" r="46197"/>
          <a:stretch/>
        </p:blipFill>
        <p:spPr>
          <a:xfrm rot="5400000">
            <a:off x="4742758" y="-567505"/>
            <a:ext cx="2703141" cy="12192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99D2FA-193C-4E7A-B9C5-CE7E484619A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343466">
            <a:off x="-2315101" y="3629286"/>
            <a:ext cx="5965371" cy="284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984236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uiExpand="1" build="p"/>
      <p:bldP spid="24" grpId="0"/>
      <p:bldP spid="28" grpId="0"/>
      <p:bldP spid="2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CD2C470-7DB1-46C1-B4ED-F281E11A0EA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710FADB-FDF2-4BB7-BBDC-58D773957E5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35000"/>
                </a:srgbClr>
              </a:gs>
              <a:gs pos="45000">
                <a:srgbClr val="50745C">
                  <a:alpha val="67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3FA21A-0AEB-4CB2-BFE7-B9CC56AF5EC2}"/>
              </a:ext>
            </a:extLst>
          </p:cNvPr>
          <p:cNvSpPr/>
          <p:nvPr/>
        </p:nvSpPr>
        <p:spPr>
          <a:xfrm>
            <a:off x="0" y="-635000"/>
            <a:ext cx="444500" cy="444500"/>
          </a:xfrm>
          <a:prstGeom prst="ellipse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7AC3DD-B7A5-4684-AD31-365A78C03E41}"/>
              </a:ext>
            </a:extLst>
          </p:cNvPr>
          <p:cNvSpPr/>
          <p:nvPr/>
        </p:nvSpPr>
        <p:spPr>
          <a:xfrm>
            <a:off x="558800" y="-635000"/>
            <a:ext cx="444500" cy="444500"/>
          </a:xfrm>
          <a:prstGeom prst="ellipse">
            <a:avLst/>
          </a:prstGeom>
          <a:solidFill>
            <a:srgbClr val="90B0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5D21E47-E947-45C4-9C84-E172F4D50C0B}"/>
              </a:ext>
            </a:extLst>
          </p:cNvPr>
          <p:cNvSpPr/>
          <p:nvPr/>
        </p:nvSpPr>
        <p:spPr>
          <a:xfrm>
            <a:off x="1117600" y="-635000"/>
            <a:ext cx="444500" cy="444500"/>
          </a:xfrm>
          <a:prstGeom prst="ellipse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8E407E5-418A-4617-B129-5D446B8B19CC}"/>
              </a:ext>
            </a:extLst>
          </p:cNvPr>
          <p:cNvSpPr/>
          <p:nvPr/>
        </p:nvSpPr>
        <p:spPr>
          <a:xfrm>
            <a:off x="1676400" y="-635000"/>
            <a:ext cx="444500" cy="444500"/>
          </a:xfrm>
          <a:prstGeom prst="ellipse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3E22BB8-C8BF-4BB5-A78E-5E388DA81AFF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6E085F2-D142-4A00-8704-1AC99002A1E7}"/>
              </a:ext>
            </a:extLst>
          </p:cNvPr>
          <p:cNvSpPr/>
          <p:nvPr/>
        </p:nvSpPr>
        <p:spPr>
          <a:xfrm>
            <a:off x="-4" y="4556976"/>
            <a:ext cx="12192000" cy="2313516"/>
          </a:xfrm>
          <a:prstGeom prst="rect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363B50-BACA-4690-BD10-87CC429FBB88}"/>
              </a:ext>
            </a:extLst>
          </p:cNvPr>
          <p:cNvSpPr/>
          <p:nvPr/>
        </p:nvSpPr>
        <p:spPr>
          <a:xfrm>
            <a:off x="2794000" y="-635000"/>
            <a:ext cx="444500" cy="444500"/>
          </a:xfrm>
          <a:prstGeom prst="ellipse">
            <a:avLst/>
          </a:prstGeom>
          <a:solidFill>
            <a:srgbClr val="FDFE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49034608-E0B1-408A-AF53-0D5A1E5F70C2}"/>
              </a:ext>
            </a:extLst>
          </p:cNvPr>
          <p:cNvSpPr/>
          <p:nvPr/>
        </p:nvSpPr>
        <p:spPr>
          <a:xfrm flipH="1">
            <a:off x="7099299" y="1231692"/>
            <a:ext cx="5092697" cy="5638800"/>
          </a:xfrm>
          <a:prstGeom prst="round1Rect">
            <a:avLst>
              <a:gd name="adj" fmla="val 18468"/>
            </a:avLst>
          </a:prstGeom>
          <a:gradFill>
            <a:gsLst>
              <a:gs pos="0">
                <a:srgbClr val="30574C"/>
              </a:gs>
              <a:gs pos="100000">
                <a:srgbClr val="2A3E33"/>
              </a:gs>
            </a:gsLst>
            <a:lin ang="3600000" scaled="0"/>
          </a:gra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247776-AE13-4356-863B-7E32BF1F7265}"/>
              </a:ext>
            </a:extLst>
          </p:cNvPr>
          <p:cNvSpPr/>
          <p:nvPr/>
        </p:nvSpPr>
        <p:spPr>
          <a:xfrm>
            <a:off x="1447800" y="3214100"/>
            <a:ext cx="9812968" cy="2908299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22CD36-BA82-4BF2-8628-E6A9E702941A}"/>
              </a:ext>
            </a:extLst>
          </p:cNvPr>
          <p:cNvSpPr txBox="1"/>
          <p:nvPr/>
        </p:nvSpPr>
        <p:spPr>
          <a:xfrm>
            <a:off x="8199783" y="1627595"/>
            <a:ext cx="3619784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>
                <a:solidFill>
                  <a:schemeClr val="bg1"/>
                </a:solidFill>
              </a:rPr>
              <a:t>Our Mission </a:t>
            </a:r>
          </a:p>
          <a:p>
            <a:r>
              <a:rPr lang="en-US" sz="4400" b="1">
                <a:solidFill>
                  <a:srgbClr val="E1BE63"/>
                </a:solidFill>
              </a:rPr>
              <a:t>w/ </a:t>
            </a:r>
            <a:r>
              <a:rPr lang="en-US" sz="4400" b="1" err="1">
                <a:solidFill>
                  <a:srgbClr val="E1BE63"/>
                </a:solidFill>
              </a:rPr>
              <a:t>Verdn</a:t>
            </a:r>
            <a:endParaRPr lang="en-US" sz="4400" b="1">
              <a:solidFill>
                <a:srgbClr val="E1BE63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3F0945-E6AB-40A1-99A9-A34A35F83266}"/>
              </a:ext>
            </a:extLst>
          </p:cNvPr>
          <p:cNvSpPr txBox="1"/>
          <p:nvPr/>
        </p:nvSpPr>
        <p:spPr>
          <a:xfrm>
            <a:off x="6180684" y="4511296"/>
            <a:ext cx="440091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>
                    <a:lumMod val="75000"/>
                    <a:lumOff val="25000"/>
                  </a:schemeClr>
                </a:solidFill>
              </a:rPr>
              <a:t>Tracking CO₂ emissions generated from each inter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>
                    <a:lumMod val="75000"/>
                    <a:lumOff val="25000"/>
                  </a:schemeClr>
                </a:solidFill>
              </a:rPr>
              <a:t>Provide users with a transparent view of their environmental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>
                    <a:lumMod val="75000"/>
                    <a:lumOff val="25000"/>
                  </a:schemeClr>
                </a:solidFill>
              </a:rPr>
              <a:t>Offer contributions towards tree planting initiatives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BBC52A4-8695-4FBD-B3F5-1DE586ED822B}"/>
              </a:ext>
            </a:extLst>
          </p:cNvPr>
          <p:cNvSpPr txBox="1"/>
          <p:nvPr/>
        </p:nvSpPr>
        <p:spPr>
          <a:xfrm>
            <a:off x="6180683" y="3607548"/>
            <a:ext cx="44009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</a:rPr>
              <a:t>Reducing Carbon Footpri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D14EBC-9DA6-4361-B81D-41A24B53E53D}"/>
              </a:ext>
            </a:extLst>
          </p:cNvPr>
          <p:cNvSpPr txBox="1"/>
          <p:nvPr/>
        </p:nvSpPr>
        <p:spPr>
          <a:xfrm>
            <a:off x="6180683" y="4096957"/>
            <a:ext cx="44009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Making LLM usage Net Zero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EF751B3-2A77-45BF-A8E3-6F8958D78370}"/>
              </a:ext>
            </a:extLst>
          </p:cNvPr>
          <p:cNvCxnSpPr/>
          <p:nvPr/>
        </p:nvCxnSpPr>
        <p:spPr>
          <a:xfrm>
            <a:off x="6180683" y="400529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Trees during Day">
            <a:extLst>
              <a:ext uri="{FF2B5EF4-FFF2-40B4-BE49-F238E27FC236}">
                <a16:creationId xmlns:a16="http://schemas.microsoft.com/office/drawing/2014/main" id="{50021F69-4E38-49E6-8E8D-725344C855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38" t="1228" r="4859" b="2396"/>
          <a:stretch/>
        </p:blipFill>
        <p:spPr bwMode="auto">
          <a:xfrm rot="5400000">
            <a:off x="2661027" y="2839979"/>
            <a:ext cx="2202654" cy="365654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97641E72-43F7-4DA2-BE8E-F1B6D0F6DA39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9D69D21-091A-4BD6-978F-983976368CA1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E1F03EC-C431-4EF7-890C-5AB58C23057F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5E14757-1EB7-4A9F-BC8D-BBFF9091E15E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9402957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uiExpand="1" build="p"/>
      <p:bldP spid="14" grpId="0" uiExpand="1" build="p"/>
      <p:bldP spid="19" grpId="0"/>
      <p:bldP spid="2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A close up of a green plant&#10;&#10;Description automatically generated">
            <a:extLst>
              <a:ext uri="{FF2B5EF4-FFF2-40B4-BE49-F238E27FC236}">
                <a16:creationId xmlns:a16="http://schemas.microsoft.com/office/drawing/2014/main" id="{3FE99D16-C7EB-4296-AF8A-B843BD73A3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-1"/>
            <a:ext cx="12191996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20FB778-7176-4A9A-9AC5-75C11B72616D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7711E1-4564-4762-BC6E-9E9D4C9C1D7B}"/>
              </a:ext>
            </a:extLst>
          </p:cNvPr>
          <p:cNvSpPr txBox="1"/>
          <p:nvPr/>
        </p:nvSpPr>
        <p:spPr>
          <a:xfrm>
            <a:off x="957805" y="570365"/>
            <a:ext cx="472249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400" b="1">
                <a:solidFill>
                  <a:schemeClr val="bg1"/>
                </a:solidFill>
              </a:rPr>
              <a:t>WHO </a:t>
            </a:r>
            <a:r>
              <a:rPr lang="id-ID" sz="4400" b="1">
                <a:solidFill>
                  <a:srgbClr val="E1BE63"/>
                </a:solidFill>
              </a:rPr>
              <a:t>WE ARE?</a:t>
            </a:r>
            <a:endParaRPr lang="en-US" sz="4400" b="1">
              <a:solidFill>
                <a:srgbClr val="E1BE63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37AD764-B1DD-4EB4-B489-FB9E1D2A9ED6}"/>
              </a:ext>
            </a:extLst>
          </p:cNvPr>
          <p:cNvGrpSpPr/>
          <p:nvPr/>
        </p:nvGrpSpPr>
        <p:grpSpPr>
          <a:xfrm>
            <a:off x="9678888" y="104713"/>
            <a:ext cx="2297439" cy="2133090"/>
            <a:chOff x="9436937" y="3691996"/>
            <a:chExt cx="2934631" cy="2724702"/>
          </a:xfrm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DA9039D4-C193-4F08-864C-50F6DF546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CF4388BE-5593-4BAB-BC55-D8D6750FE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C7DF244D-D0F7-4DA0-958B-F3CF9B12A3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67" name="Graphic 460">
              <a:extLst>
                <a:ext uri="{FF2B5EF4-FFF2-40B4-BE49-F238E27FC236}">
                  <a16:creationId xmlns:a16="http://schemas.microsoft.com/office/drawing/2014/main" id="{DFD6AE39-EBB2-4047-A74C-ED7B17751E35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AA9D04A7-00C2-47F0-A1B6-0DC218EE7D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449360" y="3050134"/>
            <a:ext cx="8427572" cy="4018987"/>
          </a:xfrm>
          <a:prstGeom prst="rect">
            <a:avLst/>
          </a:prstGeom>
        </p:spPr>
      </p:pic>
      <p:sp>
        <p:nvSpPr>
          <p:cNvPr id="34" name="Rectangle: Single Corner Rounded 33">
            <a:extLst>
              <a:ext uri="{FF2B5EF4-FFF2-40B4-BE49-F238E27FC236}">
                <a16:creationId xmlns:a16="http://schemas.microsoft.com/office/drawing/2014/main" id="{647E9048-F395-4F08-BCDA-F8B9356ACB6B}"/>
              </a:ext>
            </a:extLst>
          </p:cNvPr>
          <p:cNvSpPr/>
          <p:nvPr/>
        </p:nvSpPr>
        <p:spPr>
          <a:xfrm flipH="1">
            <a:off x="7099299" y="1231692"/>
            <a:ext cx="5092697" cy="5638800"/>
          </a:xfrm>
          <a:prstGeom prst="round1Rect">
            <a:avLst>
              <a:gd name="adj" fmla="val 18468"/>
            </a:avLst>
          </a:prstGeom>
          <a:solidFill>
            <a:srgbClr val="E1BE63"/>
          </a:soli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D3A3F3A-7C4D-423B-9FB2-E3431E0582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8900000">
            <a:off x="7591296" y="4203909"/>
            <a:ext cx="5965371" cy="284479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D2565E6-6183-4B9C-ADD6-9AA6A954DC77}"/>
              </a:ext>
            </a:extLst>
          </p:cNvPr>
          <p:cNvSpPr/>
          <p:nvPr/>
        </p:nvSpPr>
        <p:spPr>
          <a:xfrm>
            <a:off x="8001077" y="2944336"/>
            <a:ext cx="3233118" cy="3140913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C1469C-696A-42C9-A640-5C0DFCCB9586}"/>
              </a:ext>
            </a:extLst>
          </p:cNvPr>
          <p:cNvSpPr txBox="1"/>
          <p:nvPr/>
        </p:nvSpPr>
        <p:spPr>
          <a:xfrm>
            <a:off x="8296352" y="4459160"/>
            <a:ext cx="2765061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The project could be developed further into an end-to-end solution or an extension to use with your current LLM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82A43F-7A2F-45DA-9160-8C9BEED7C7DD}"/>
              </a:ext>
            </a:extLst>
          </p:cNvPr>
          <p:cNvSpPr txBox="1"/>
          <p:nvPr/>
        </p:nvSpPr>
        <p:spPr>
          <a:xfrm>
            <a:off x="8001077" y="1878087"/>
            <a:ext cx="2765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FUTURE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A0089D3-7B54-4F2B-A0FE-3F4196D88C25}"/>
              </a:ext>
            </a:extLst>
          </p:cNvPr>
          <p:cNvCxnSpPr>
            <a:cxnSpLocks/>
          </p:cNvCxnSpPr>
          <p:nvPr/>
        </p:nvCxnSpPr>
        <p:spPr>
          <a:xfrm>
            <a:off x="8296352" y="427882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57" descr="A close up of a tree&#10;&#10;Description automatically generated">
            <a:extLst>
              <a:ext uri="{FF2B5EF4-FFF2-40B4-BE49-F238E27FC236}">
                <a16:creationId xmlns:a16="http://schemas.microsoft.com/office/drawing/2014/main" id="{ECA7BC83-E007-4987-A3F2-A95FF24013D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66" b="36155"/>
          <a:stretch/>
        </p:blipFill>
        <p:spPr>
          <a:xfrm>
            <a:off x="8001073" y="2320731"/>
            <a:ext cx="2765061" cy="16656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4D31A07-6E62-4A16-898E-0C64A469C595}"/>
              </a:ext>
            </a:extLst>
          </p:cNvPr>
          <p:cNvSpPr/>
          <p:nvPr/>
        </p:nvSpPr>
        <p:spPr>
          <a:xfrm>
            <a:off x="957805" y="2944336"/>
            <a:ext cx="3167862" cy="3140913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F32D81-2812-48FF-A4B6-F706FE08C515}"/>
              </a:ext>
            </a:extLst>
          </p:cNvPr>
          <p:cNvSpPr txBox="1"/>
          <p:nvPr/>
        </p:nvSpPr>
        <p:spPr>
          <a:xfrm>
            <a:off x="1153689" y="4459160"/>
            <a:ext cx="2765061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3 computer Science student from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three different backgrounds joined 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together to submit a project that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re-ignites our awareness of sustainability when doing everyday task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8D6EB9-C5B8-46FC-8F04-0B6FB221D138}"/>
              </a:ext>
            </a:extLst>
          </p:cNvPr>
          <p:cNvSpPr txBox="1"/>
          <p:nvPr/>
        </p:nvSpPr>
        <p:spPr>
          <a:xfrm>
            <a:off x="957805" y="1878087"/>
            <a:ext cx="2765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BACKGROUND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974C0B1-5588-4B38-8A15-2010877A9ABF}"/>
              </a:ext>
            </a:extLst>
          </p:cNvPr>
          <p:cNvCxnSpPr>
            <a:cxnSpLocks/>
          </p:cNvCxnSpPr>
          <p:nvPr/>
        </p:nvCxnSpPr>
        <p:spPr>
          <a:xfrm>
            <a:off x="1253080" y="427882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CDEB11E-488C-4DA1-8B8B-34E0B64AFE3B}"/>
              </a:ext>
            </a:extLst>
          </p:cNvPr>
          <p:cNvSpPr/>
          <p:nvPr/>
        </p:nvSpPr>
        <p:spPr>
          <a:xfrm>
            <a:off x="4484850" y="2944336"/>
            <a:ext cx="3167862" cy="3140913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80CD5AC-BAD6-4316-984A-186622933911}"/>
              </a:ext>
            </a:extLst>
          </p:cNvPr>
          <p:cNvSpPr txBox="1"/>
          <p:nvPr/>
        </p:nvSpPr>
        <p:spPr>
          <a:xfrm>
            <a:off x="4678525" y="4835080"/>
            <a:ext cx="2765061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OUR DEMO!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EA5F809-938F-4990-AA2F-C54B5CB71293}"/>
              </a:ext>
            </a:extLst>
          </p:cNvPr>
          <p:cNvSpPr txBox="1"/>
          <p:nvPr/>
        </p:nvSpPr>
        <p:spPr>
          <a:xfrm>
            <a:off x="4484850" y="1878087"/>
            <a:ext cx="2765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CURRENT WORK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4B3564-A160-4404-B548-9094560B5538}"/>
              </a:ext>
            </a:extLst>
          </p:cNvPr>
          <p:cNvCxnSpPr>
            <a:cxnSpLocks/>
          </p:cNvCxnSpPr>
          <p:nvPr/>
        </p:nvCxnSpPr>
        <p:spPr>
          <a:xfrm>
            <a:off x="4780125" y="427882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 descr="A picture containing road, green, train, forest&#10;&#10;Description automatically generated">
            <a:extLst>
              <a:ext uri="{FF2B5EF4-FFF2-40B4-BE49-F238E27FC236}">
                <a16:creationId xmlns:a16="http://schemas.microsoft.com/office/drawing/2014/main" id="{31367AD3-0338-483D-BDF4-47D9B9083FC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85" b="27380"/>
          <a:stretch/>
        </p:blipFill>
        <p:spPr>
          <a:xfrm>
            <a:off x="957805" y="2320731"/>
            <a:ext cx="2765061" cy="166564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pic>
        <p:nvPicPr>
          <p:cNvPr id="2" name="Picture 1" descr="Unique Capybara Hotel in Japan Takes Cute to a New Level">
            <a:extLst>
              <a:ext uri="{FF2B5EF4-FFF2-40B4-BE49-F238E27FC236}">
                <a16:creationId xmlns:a16="http://schemas.microsoft.com/office/drawing/2014/main" id="{8673D5A8-4519-7F93-B6AE-C1C4F5E2E05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81443" y="2311951"/>
            <a:ext cx="2621722" cy="190279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990744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500"/>
                            </p:stCondLst>
                            <p:childTnLst>
                              <p:par>
                                <p:cTn id="5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5" grpId="0" animBg="1"/>
      <p:bldP spid="26" grpId="0"/>
      <p:bldP spid="27" grpId="0"/>
      <p:bldP spid="14" grpId="0" animBg="1"/>
      <p:bldP spid="15" grpId="0"/>
      <p:bldP spid="16" grpId="0"/>
      <p:bldP spid="20" grpId="0" animBg="1"/>
      <p:bldP spid="21" grpId="0"/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plant&#10;&#10;Description automatically generated">
            <a:extLst>
              <a:ext uri="{FF2B5EF4-FFF2-40B4-BE49-F238E27FC236}">
                <a16:creationId xmlns:a16="http://schemas.microsoft.com/office/drawing/2014/main" id="{2B9147D8-40ED-4BBE-B666-2014ED8124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37024" b="848"/>
          <a:stretch/>
        </p:blipFill>
        <p:spPr>
          <a:xfrm>
            <a:off x="-1" y="0"/>
            <a:ext cx="12192001" cy="60833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C05FB0A-8057-4580-A607-DAD0B2E84705}"/>
              </a:ext>
            </a:extLst>
          </p:cNvPr>
          <p:cNvSpPr/>
          <p:nvPr/>
        </p:nvSpPr>
        <p:spPr>
          <a:xfrm>
            <a:off x="0" y="0"/>
            <a:ext cx="12192000" cy="6083300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78F6B13F-CE91-4A05-B2F9-0CCC1B097855}"/>
              </a:ext>
            </a:extLst>
          </p:cNvPr>
          <p:cNvSpPr/>
          <p:nvPr/>
        </p:nvSpPr>
        <p:spPr>
          <a:xfrm flipH="1">
            <a:off x="1178865" y="5100200"/>
            <a:ext cx="11013129" cy="1770291"/>
          </a:xfrm>
          <a:prstGeom prst="round1Rect">
            <a:avLst>
              <a:gd name="adj" fmla="val 44704"/>
            </a:avLst>
          </a:prstGeom>
          <a:solidFill>
            <a:srgbClr val="E1BE63"/>
          </a:soli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E089F9-8E3A-4EFD-8991-2EBD09CC4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343466">
            <a:off x="6637322" y="839936"/>
            <a:ext cx="5965371" cy="284479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1F2CF-6CF5-495D-97E9-18B079E544C1}"/>
              </a:ext>
            </a:extLst>
          </p:cNvPr>
          <p:cNvSpPr txBox="1"/>
          <p:nvPr/>
        </p:nvSpPr>
        <p:spPr>
          <a:xfrm>
            <a:off x="840196" y="1300382"/>
            <a:ext cx="268709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000" b="1">
                <a:solidFill>
                  <a:schemeClr val="bg1"/>
                </a:solidFill>
              </a:rPr>
              <a:t>OUR </a:t>
            </a:r>
          </a:p>
          <a:p>
            <a:r>
              <a:rPr lang="id-ID" sz="4000" b="1">
                <a:solidFill>
                  <a:srgbClr val="E1BE63"/>
                </a:solidFill>
              </a:rPr>
              <a:t>TEAM</a:t>
            </a:r>
            <a:endParaRPr lang="en-US" sz="4000" b="1">
              <a:solidFill>
                <a:srgbClr val="E1BE63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1A0EA42-9340-4560-9AAF-7728CF211F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805659" flipH="1">
            <a:off x="10657033" y="92471"/>
            <a:ext cx="1106311" cy="2415822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6D0A244-44B7-4C3D-92D5-7FF8952F2CCC}"/>
              </a:ext>
            </a:extLst>
          </p:cNvPr>
          <p:cNvSpPr/>
          <p:nvPr/>
        </p:nvSpPr>
        <p:spPr>
          <a:xfrm>
            <a:off x="5054044" y="2606067"/>
            <a:ext cx="5982256" cy="1615144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74E8DF-B750-4046-8F84-90D5F5EF3CC1}"/>
              </a:ext>
            </a:extLst>
          </p:cNvPr>
          <p:cNvSpPr txBox="1"/>
          <p:nvPr/>
        </p:nvSpPr>
        <p:spPr>
          <a:xfrm>
            <a:off x="6345579" y="3159954"/>
            <a:ext cx="1632094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id-ID" b="1">
                <a:solidFill>
                  <a:srgbClr val="E1BE63"/>
                </a:solidFill>
              </a:rPr>
              <a:t>Hamza</a:t>
            </a:r>
          </a:p>
          <a:p>
            <a:r>
              <a:rPr lang="id-ID" b="1">
                <a:solidFill>
                  <a:srgbClr val="E1BE63"/>
                </a:solidFill>
              </a:rPr>
              <a:t>Wahbi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2C3E16-1D45-4217-B194-08889FCC3F51}"/>
              </a:ext>
            </a:extLst>
          </p:cNvPr>
          <p:cNvSpPr txBox="1"/>
          <p:nvPr/>
        </p:nvSpPr>
        <p:spPr>
          <a:xfrm>
            <a:off x="6345579" y="5073829"/>
            <a:ext cx="1632094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id-ID" b="1">
                <a:solidFill>
                  <a:srgbClr val="E1BE63"/>
                </a:solidFill>
              </a:rPr>
              <a:t>Benyamin</a:t>
            </a:r>
          </a:p>
          <a:p>
            <a:r>
              <a:rPr lang="id-ID" b="1" err="1">
                <a:solidFill>
                  <a:srgbClr val="E1BE63"/>
                </a:solidFill>
              </a:rPr>
              <a:t>Bansa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03D3E7-CD9E-4AE3-B76F-00639F47D755}"/>
              </a:ext>
            </a:extLst>
          </p:cNvPr>
          <p:cNvSpPr txBox="1"/>
          <p:nvPr/>
        </p:nvSpPr>
        <p:spPr>
          <a:xfrm>
            <a:off x="840196" y="2716199"/>
            <a:ext cx="2687095" cy="17235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Our team consisted of 3 members who each have a different level of experience in code, ranging from simple front-end development, to skills of a senior software engineer.  </a:t>
            </a:r>
          </a:p>
          <a:p>
            <a:endParaRPr lang="en-US" sz="140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6E762C4-3C41-4F63-9DE3-7D44EEB451B8}"/>
              </a:ext>
            </a:extLst>
          </p:cNvPr>
          <p:cNvGrpSpPr/>
          <p:nvPr/>
        </p:nvGrpSpPr>
        <p:grpSpPr>
          <a:xfrm>
            <a:off x="-544843" y="4658979"/>
            <a:ext cx="2934631" cy="2724702"/>
            <a:chOff x="9436937" y="3691996"/>
            <a:chExt cx="2934631" cy="2724702"/>
          </a:xfrm>
        </p:grpSpPr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FCFC1792-D1DD-4DA1-9C44-9BD24DFE1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CA886711-4A68-4340-8FBB-3CECDB284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1A27EFBA-9EB1-4AF3-8B21-F2F8F74D9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55" name="Graphic 460">
              <a:extLst>
                <a:ext uri="{FF2B5EF4-FFF2-40B4-BE49-F238E27FC236}">
                  <a16:creationId xmlns:a16="http://schemas.microsoft.com/office/drawing/2014/main" id="{7FB67A5A-B399-470A-AC1D-9EC7839D3C9B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30B8253-371C-456C-ADD9-28A430C6B6E0}"/>
              </a:ext>
            </a:extLst>
          </p:cNvPr>
          <p:cNvCxnSpPr>
            <a:cxnSpLocks/>
          </p:cNvCxnSpPr>
          <p:nvPr/>
        </p:nvCxnSpPr>
        <p:spPr>
          <a:xfrm>
            <a:off x="8045172" y="1003645"/>
            <a:ext cx="0" cy="940773"/>
          </a:xfrm>
          <a:prstGeom prst="line">
            <a:avLst/>
          </a:prstGeom>
          <a:ln>
            <a:solidFill>
              <a:srgbClr val="95B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E4EBFA1-D946-48C5-B412-D0FFF5FEE694}"/>
              </a:ext>
            </a:extLst>
          </p:cNvPr>
          <p:cNvCxnSpPr>
            <a:cxnSpLocks/>
          </p:cNvCxnSpPr>
          <p:nvPr/>
        </p:nvCxnSpPr>
        <p:spPr>
          <a:xfrm>
            <a:off x="8045172" y="2958613"/>
            <a:ext cx="0" cy="940773"/>
          </a:xfrm>
          <a:prstGeom prst="line">
            <a:avLst/>
          </a:prstGeom>
          <a:ln>
            <a:solidFill>
              <a:srgbClr val="95B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F10D019-1600-4C76-B812-8F0D1D0813A4}"/>
              </a:ext>
            </a:extLst>
          </p:cNvPr>
          <p:cNvCxnSpPr>
            <a:cxnSpLocks/>
          </p:cNvCxnSpPr>
          <p:nvPr/>
        </p:nvCxnSpPr>
        <p:spPr>
          <a:xfrm>
            <a:off x="840196" y="1104699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person taking a selfie&#10;&#10;AI-generated content may be incorrect.">
            <a:extLst>
              <a:ext uri="{FF2B5EF4-FFF2-40B4-BE49-F238E27FC236}">
                <a16:creationId xmlns:a16="http://schemas.microsoft.com/office/drawing/2014/main" id="{C0E0497D-F96D-C2B6-D939-932DAFC0EB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93117" y="2494102"/>
            <a:ext cx="1917406" cy="1864244"/>
          </a:xfrm>
          <a:prstGeom prst="flowChartConnector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F496C42-5CC7-4DB2-3C96-1627D6391202}"/>
              </a:ext>
            </a:extLst>
          </p:cNvPr>
          <p:cNvGrpSpPr/>
          <p:nvPr/>
        </p:nvGrpSpPr>
        <p:grpSpPr>
          <a:xfrm>
            <a:off x="3981141" y="573878"/>
            <a:ext cx="7055159" cy="1864242"/>
            <a:chOff x="3981141" y="573878"/>
            <a:chExt cx="7055159" cy="1864242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3E480A9-791F-4251-AC65-D5C1A0985B1F}"/>
                </a:ext>
              </a:extLst>
            </p:cNvPr>
            <p:cNvSpPr/>
            <p:nvPr/>
          </p:nvSpPr>
          <p:spPr>
            <a:xfrm>
              <a:off x="5054044" y="666459"/>
              <a:ext cx="5982256" cy="1615144"/>
            </a:xfrm>
            <a:prstGeom prst="roundRect">
              <a:avLst>
                <a:gd name="adj" fmla="val 10785"/>
              </a:avLst>
            </a:prstGeom>
            <a:solidFill>
              <a:schemeClr val="bg1"/>
            </a:solidFill>
            <a:ln>
              <a:noFill/>
            </a:ln>
            <a:effectLst>
              <a:outerShdw blurRad="177800" dist="152400" dir="5400000" algn="t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6CCAF4B-9594-4C59-AAC7-D70CF73E7134}"/>
                </a:ext>
              </a:extLst>
            </p:cNvPr>
            <p:cNvSpPr txBox="1"/>
            <p:nvPr/>
          </p:nvSpPr>
          <p:spPr>
            <a:xfrm>
              <a:off x="6345579" y="1193765"/>
              <a:ext cx="169959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id-ID" b="1" err="1">
                  <a:solidFill>
                    <a:srgbClr val="E1BE63"/>
                  </a:solidFill>
                </a:rPr>
                <a:t>Faeq</a:t>
              </a:r>
              <a:endParaRPr lang="id-ID" b="1">
                <a:solidFill>
                  <a:srgbClr val="E1BE63"/>
                </a:solidFill>
              </a:endParaRPr>
            </a:p>
            <a:p>
              <a:r>
                <a:rPr lang="id-ID" b="1">
                  <a:solidFill>
                    <a:srgbClr val="E1BE63"/>
                  </a:solidFill>
                </a:rPr>
                <a:t>Faisal</a:t>
              </a:r>
            </a:p>
          </p:txBody>
        </p:sp>
        <p:pic>
          <p:nvPicPr>
            <p:cNvPr id="5" name="Picture 4" descr="A qr code with a white background&#10;&#10;AI-generated content may be incorrect.">
              <a:extLst>
                <a:ext uri="{FF2B5EF4-FFF2-40B4-BE49-F238E27FC236}">
                  <a16:creationId xmlns:a16="http://schemas.microsoft.com/office/drawing/2014/main" id="{FE49AE3E-AE70-5EE1-9073-29F67E31C7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988351" y="868575"/>
              <a:ext cx="1155404" cy="1199708"/>
            </a:xfrm>
            <a:prstGeom prst="rect">
              <a:avLst/>
            </a:prstGeom>
          </p:spPr>
        </p:pic>
        <p:pic>
          <p:nvPicPr>
            <p:cNvPr id="2" name="Picture 1" descr="A person with a beard and glasses&#10;&#10;AI-generated content may be incorrect.">
              <a:extLst>
                <a:ext uri="{FF2B5EF4-FFF2-40B4-BE49-F238E27FC236}">
                  <a16:creationId xmlns:a16="http://schemas.microsoft.com/office/drawing/2014/main" id="{DAEF483E-9292-FAB6-83CD-C6EBF5A9C4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81141" y="573878"/>
              <a:ext cx="1881963" cy="1864242"/>
            </a:xfrm>
            <a:prstGeom prst="flowChartConnector">
              <a:avLst/>
            </a:prstGeom>
          </p:spPr>
        </p:pic>
      </p:grpSp>
      <p:pic>
        <p:nvPicPr>
          <p:cNvPr id="6" name="Picture 5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D393A042-B80E-17AA-C319-6C8EF70CA00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88351" y="2817502"/>
            <a:ext cx="1208568" cy="122628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928182EC-514E-5232-25B7-E473773245C0}"/>
              </a:ext>
            </a:extLst>
          </p:cNvPr>
          <p:cNvGrpSpPr/>
          <p:nvPr/>
        </p:nvGrpSpPr>
        <p:grpSpPr>
          <a:xfrm>
            <a:off x="4022060" y="4464375"/>
            <a:ext cx="7014240" cy="1970568"/>
            <a:chOff x="4022060" y="4464375"/>
            <a:chExt cx="7014240" cy="1970568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5CE0A54-A499-4BAC-A71A-A02F63C9C8AD}"/>
                </a:ext>
              </a:extLst>
            </p:cNvPr>
            <p:cNvSpPr/>
            <p:nvPr/>
          </p:nvSpPr>
          <p:spPr>
            <a:xfrm>
              <a:off x="5054044" y="4519942"/>
              <a:ext cx="5982256" cy="1615144"/>
            </a:xfrm>
            <a:prstGeom prst="roundRect">
              <a:avLst>
                <a:gd name="adj" fmla="val 10785"/>
              </a:avLst>
            </a:prstGeom>
            <a:solidFill>
              <a:schemeClr val="bg1"/>
            </a:solidFill>
            <a:ln>
              <a:noFill/>
            </a:ln>
            <a:effectLst>
              <a:outerShdw blurRad="177800" dist="152400" dir="5400000" algn="t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32C3E16-1D45-4217-B194-08889FCC3F51}"/>
                </a:ext>
              </a:extLst>
            </p:cNvPr>
            <p:cNvSpPr txBox="1"/>
            <p:nvPr/>
          </p:nvSpPr>
          <p:spPr>
            <a:xfrm>
              <a:off x="6345579" y="5073829"/>
              <a:ext cx="163209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id-ID" b="1">
                  <a:solidFill>
                    <a:srgbClr val="E1BE63"/>
                  </a:solidFill>
                </a:rPr>
                <a:t>Benyamin</a:t>
              </a:r>
            </a:p>
            <a:p>
              <a:r>
                <a:rPr lang="id-ID" b="1" err="1">
                  <a:solidFill>
                    <a:srgbClr val="E1BE63"/>
                  </a:solidFill>
                </a:rPr>
                <a:t>Bansal</a:t>
              </a: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4CE5F72-7BE8-4320-AFBF-ABCFD17D6DF2}"/>
                </a:ext>
              </a:extLst>
            </p:cNvPr>
            <p:cNvCxnSpPr>
              <a:cxnSpLocks/>
            </p:cNvCxnSpPr>
            <p:nvPr/>
          </p:nvCxnSpPr>
          <p:spPr>
            <a:xfrm>
              <a:off x="8045172" y="4864798"/>
              <a:ext cx="0" cy="940773"/>
            </a:xfrm>
            <a:prstGeom prst="line">
              <a:avLst/>
            </a:prstGeom>
            <a:ln>
              <a:solidFill>
                <a:srgbClr val="95B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" name="Picture 3" descr="A person with a beard&#10;&#10;AI-generated content may be incorrect.">
              <a:extLst>
                <a:ext uri="{FF2B5EF4-FFF2-40B4-BE49-F238E27FC236}">
                  <a16:creationId xmlns:a16="http://schemas.microsoft.com/office/drawing/2014/main" id="{3DEEDCF5-7F2E-1378-F9E8-FECC2A120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022060" y="4464375"/>
              <a:ext cx="1890825" cy="1970568"/>
            </a:xfrm>
            <a:prstGeom prst="flowChartConnector">
              <a:avLst/>
            </a:prstGeom>
          </p:spPr>
        </p:pic>
        <p:pic>
          <p:nvPicPr>
            <p:cNvPr id="8" name="Picture 7" descr="A qr code with a few black squares&#10;&#10;AI-generated content may be incorrect.">
              <a:extLst>
                <a:ext uri="{FF2B5EF4-FFF2-40B4-BE49-F238E27FC236}">
                  <a16:creationId xmlns:a16="http://schemas.microsoft.com/office/drawing/2014/main" id="{62EB3490-E3BF-680E-A4D5-2EEAC30ED1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077157" y="4768990"/>
              <a:ext cx="1199709" cy="1173128"/>
            </a:xfrm>
            <a:prstGeom prst="rect">
              <a:avLst/>
            </a:prstGeom>
          </p:spPr>
        </p:pic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1BA385F-3A55-679D-A73D-BB8E294042A5}"/>
              </a:ext>
            </a:extLst>
          </p:cNvPr>
          <p:cNvCxnSpPr>
            <a:cxnSpLocks/>
          </p:cNvCxnSpPr>
          <p:nvPr/>
        </p:nvCxnSpPr>
        <p:spPr>
          <a:xfrm>
            <a:off x="8045172" y="998042"/>
            <a:ext cx="0" cy="940773"/>
          </a:xfrm>
          <a:prstGeom prst="line">
            <a:avLst/>
          </a:prstGeom>
          <a:ln>
            <a:solidFill>
              <a:srgbClr val="95B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erson with a beard and glasses&#10;&#10;AI-generated content may be incorrect.">
            <a:extLst>
              <a:ext uri="{FF2B5EF4-FFF2-40B4-BE49-F238E27FC236}">
                <a16:creationId xmlns:a16="http://schemas.microsoft.com/office/drawing/2014/main" id="{3948B882-7E32-4DE9-6905-8BC51909F5D2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13141" t="7186" r="19008" b="16497"/>
          <a:stretch/>
        </p:blipFill>
        <p:spPr>
          <a:xfrm>
            <a:off x="-2305001" y="868575"/>
            <a:ext cx="1989497" cy="1997398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2050517459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7" grpId="0" animBg="1"/>
      <p:bldP spid="31" grpId="0"/>
      <p:bldP spid="4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 descr="A close up of a plant&#10;&#10;Description automatically generated">
            <a:extLst>
              <a:ext uri="{FF2B5EF4-FFF2-40B4-BE49-F238E27FC236}">
                <a16:creationId xmlns:a16="http://schemas.microsoft.com/office/drawing/2014/main" id="{F9B86230-4455-48E9-8BC3-8E85474D26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43660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A5EA120-AEB4-4952-9C5C-BEA0EE1A4E87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1F4B1B-80FB-4226-BBEB-6A8E9DDF9F89}"/>
              </a:ext>
            </a:extLst>
          </p:cNvPr>
          <p:cNvSpPr txBox="1"/>
          <p:nvPr/>
        </p:nvSpPr>
        <p:spPr>
          <a:xfrm>
            <a:off x="1134499" y="894266"/>
            <a:ext cx="6770987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>
                <a:solidFill>
                  <a:schemeClr val="bg1"/>
                </a:solidFill>
              </a:rPr>
              <a:t>LEARN </a:t>
            </a:r>
            <a:r>
              <a:rPr lang="en-US" sz="4400" b="1">
                <a:solidFill>
                  <a:srgbClr val="E1BE63"/>
                </a:solidFill>
              </a:rPr>
              <a:t>PROCES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616EC8C-F11F-41B5-BB5B-26CFC886E301}"/>
              </a:ext>
            </a:extLst>
          </p:cNvPr>
          <p:cNvCxnSpPr>
            <a:cxnSpLocks/>
          </p:cNvCxnSpPr>
          <p:nvPr/>
        </p:nvCxnSpPr>
        <p:spPr>
          <a:xfrm>
            <a:off x="1134499" y="670612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160">
            <a:extLst>
              <a:ext uri="{FF2B5EF4-FFF2-40B4-BE49-F238E27FC236}">
                <a16:creationId xmlns:a16="http://schemas.microsoft.com/office/drawing/2014/main" id="{29AE3795-0AC8-4FB6-9B46-9D54AE88CBE7}"/>
              </a:ext>
            </a:extLst>
          </p:cNvPr>
          <p:cNvSpPr/>
          <p:nvPr/>
        </p:nvSpPr>
        <p:spPr>
          <a:xfrm rot="2700000">
            <a:off x="-2330344" y="2645895"/>
            <a:ext cx="6092370" cy="4082444"/>
          </a:xfrm>
          <a:custGeom>
            <a:avLst/>
            <a:gdLst>
              <a:gd name="connsiteX0" fmla="*/ 0 w 6092370"/>
              <a:gd name="connsiteY0" fmla="*/ 7388 h 4082444"/>
              <a:gd name="connsiteX1" fmla="*/ 73286 w 6092370"/>
              <a:gd name="connsiteY1" fmla="*/ 0 h 4082444"/>
              <a:gd name="connsiteX2" fmla="*/ 5681261 w 6092370"/>
              <a:gd name="connsiteY2" fmla="*/ 0 h 4082444"/>
              <a:gd name="connsiteX3" fmla="*/ 6092370 w 6092370"/>
              <a:gd name="connsiteY3" fmla="*/ 411109 h 4082444"/>
              <a:gd name="connsiteX4" fmla="*/ 6092370 w 6092370"/>
              <a:gd name="connsiteY4" fmla="*/ 2065129 h 4082444"/>
              <a:gd name="connsiteX5" fmla="*/ 4075056 w 6092370"/>
              <a:gd name="connsiteY5" fmla="*/ 4082444 h 408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2370" h="4082444">
                <a:moveTo>
                  <a:pt x="0" y="7388"/>
                </a:moveTo>
                <a:lnTo>
                  <a:pt x="73286" y="0"/>
                </a:lnTo>
                <a:lnTo>
                  <a:pt x="5681261" y="0"/>
                </a:lnTo>
                <a:cubicBezTo>
                  <a:pt x="5908310" y="0"/>
                  <a:pt x="6092370" y="184060"/>
                  <a:pt x="6092370" y="411109"/>
                </a:cubicBezTo>
                <a:lnTo>
                  <a:pt x="6092370" y="2065129"/>
                </a:lnTo>
                <a:lnTo>
                  <a:pt x="4075056" y="4082444"/>
                </a:lnTo>
                <a:close/>
              </a:path>
            </a:pathLst>
          </a:custGeom>
          <a:gradFill>
            <a:gsLst>
              <a:gs pos="0">
                <a:srgbClr val="30574C"/>
              </a:gs>
              <a:gs pos="100000">
                <a:srgbClr val="2A3E33"/>
              </a:gs>
            </a:gsLst>
            <a:lin ang="3600000" scaled="0"/>
          </a:gra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55F600F-97D3-4CB3-A410-90C263801AF1}"/>
              </a:ext>
            </a:extLst>
          </p:cNvPr>
          <p:cNvGrpSpPr/>
          <p:nvPr/>
        </p:nvGrpSpPr>
        <p:grpSpPr>
          <a:xfrm>
            <a:off x="237728" y="3043521"/>
            <a:ext cx="2934631" cy="2724702"/>
            <a:chOff x="9436937" y="3691996"/>
            <a:chExt cx="2934631" cy="2724702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B01D8795-AA33-45EA-9D4F-2F310AB28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9C7AACF2-B38E-44DB-9EC1-04FC20C7A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80AA6E45-F653-40EF-9372-CD302E7326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17" name="Graphic 460">
              <a:extLst>
                <a:ext uri="{FF2B5EF4-FFF2-40B4-BE49-F238E27FC236}">
                  <a16:creationId xmlns:a16="http://schemas.microsoft.com/office/drawing/2014/main" id="{213D90EF-DB56-405B-B7E2-8B6C7DA05159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Freeform 229">
            <a:extLst>
              <a:ext uri="{FF2B5EF4-FFF2-40B4-BE49-F238E27FC236}">
                <a16:creationId xmlns:a16="http://schemas.microsoft.com/office/drawing/2014/main" id="{F379BF52-E8E5-4553-9B97-33CE6E40F592}"/>
              </a:ext>
            </a:extLst>
          </p:cNvPr>
          <p:cNvSpPr/>
          <p:nvPr/>
        </p:nvSpPr>
        <p:spPr>
          <a:xfrm rot="2700000">
            <a:off x="787656" y="5297729"/>
            <a:ext cx="3461926" cy="2369413"/>
          </a:xfrm>
          <a:custGeom>
            <a:avLst/>
            <a:gdLst>
              <a:gd name="connsiteX0" fmla="*/ 131700 w 3941795"/>
              <a:gd name="connsiteY0" fmla="*/ 131700 h 2697845"/>
              <a:gd name="connsiteX1" fmla="*/ 449650 w 3941795"/>
              <a:gd name="connsiteY1" fmla="*/ 0 h 2697845"/>
              <a:gd name="connsiteX2" fmla="*/ 3941795 w 3941795"/>
              <a:gd name="connsiteY2" fmla="*/ 0 h 2697845"/>
              <a:gd name="connsiteX3" fmla="*/ 1243950 w 3941795"/>
              <a:gd name="connsiteY3" fmla="*/ 2697845 h 2697845"/>
              <a:gd name="connsiteX4" fmla="*/ 449650 w 3941795"/>
              <a:gd name="connsiteY4" fmla="*/ 2697845 h 2697845"/>
              <a:gd name="connsiteX5" fmla="*/ 0 w 3941795"/>
              <a:gd name="connsiteY5" fmla="*/ 2248195 h 2697845"/>
              <a:gd name="connsiteX6" fmla="*/ 0 w 3941795"/>
              <a:gd name="connsiteY6" fmla="*/ 449650 h 2697845"/>
              <a:gd name="connsiteX7" fmla="*/ 131700 w 3941795"/>
              <a:gd name="connsiteY7" fmla="*/ 131700 h 269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41795" h="2697845">
                <a:moveTo>
                  <a:pt x="131700" y="131700"/>
                </a:moveTo>
                <a:cubicBezTo>
                  <a:pt x="213070" y="50329"/>
                  <a:pt x="325483" y="0"/>
                  <a:pt x="449650" y="0"/>
                </a:cubicBezTo>
                <a:lnTo>
                  <a:pt x="3941795" y="0"/>
                </a:lnTo>
                <a:lnTo>
                  <a:pt x="1243950" y="2697845"/>
                </a:lnTo>
                <a:lnTo>
                  <a:pt x="449650" y="2697845"/>
                </a:lnTo>
                <a:cubicBezTo>
                  <a:pt x="201315" y="2697845"/>
                  <a:pt x="0" y="2496530"/>
                  <a:pt x="0" y="2248195"/>
                </a:cubicBezTo>
                <a:lnTo>
                  <a:pt x="0" y="449650"/>
                </a:lnTo>
                <a:cubicBezTo>
                  <a:pt x="0" y="325482"/>
                  <a:pt x="50329" y="213070"/>
                  <a:pt x="131700" y="13170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E448BBF3-B58A-444A-9E8A-8E539111E7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12296" y="5105307"/>
            <a:ext cx="1954192" cy="2018264"/>
          </a:xfrm>
          <a:prstGeom prst="rect">
            <a:avLst/>
          </a:prstGeom>
        </p:spPr>
      </p:pic>
      <p:sp>
        <p:nvSpPr>
          <p:cNvPr id="22" name="Rounded Rectangle 19">
            <a:extLst>
              <a:ext uri="{FF2B5EF4-FFF2-40B4-BE49-F238E27FC236}">
                <a16:creationId xmlns:a16="http://schemas.microsoft.com/office/drawing/2014/main" id="{BE4FF266-1BA8-4A29-B6E9-CDA083A2A404}"/>
              </a:ext>
            </a:extLst>
          </p:cNvPr>
          <p:cNvSpPr/>
          <p:nvPr/>
        </p:nvSpPr>
        <p:spPr>
          <a:xfrm rot="2700000">
            <a:off x="4879919" y="3695248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9105009-64F5-46C1-9200-1E77FC413FB1}"/>
              </a:ext>
            </a:extLst>
          </p:cNvPr>
          <p:cNvGrpSpPr/>
          <p:nvPr/>
        </p:nvGrpSpPr>
        <p:grpSpPr>
          <a:xfrm>
            <a:off x="6071413" y="3548948"/>
            <a:ext cx="3943444" cy="816458"/>
            <a:chOff x="6071413" y="3487471"/>
            <a:chExt cx="3943444" cy="81645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FB4C732-33D6-4A42-B603-D7900F190D15}"/>
                </a:ext>
              </a:extLst>
            </p:cNvPr>
            <p:cNvSpPr txBox="1"/>
            <p:nvPr/>
          </p:nvSpPr>
          <p:spPr>
            <a:xfrm>
              <a:off x="6071413" y="3487471"/>
              <a:ext cx="289423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Norming - Setup &amp; API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9A8DD22-308E-4E3F-82FB-3D5E886D36F4}"/>
                </a:ext>
              </a:extLst>
            </p:cNvPr>
            <p:cNvSpPr/>
            <p:nvPr/>
          </p:nvSpPr>
          <p:spPr>
            <a:xfrm>
              <a:off x="6071413" y="3873042"/>
              <a:ext cx="394344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Read Documentation and Guide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Linked to Hugging Face for LLMs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060E008-FF5D-466B-BCCF-463003E65D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1413" y="3787978"/>
              <a:ext cx="3667673" cy="0"/>
            </a:xfrm>
            <a:prstGeom prst="line">
              <a:avLst/>
            </a:prstGeom>
            <a:ln>
              <a:solidFill>
                <a:srgbClr val="3057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DE21E0B-D7F7-4B8D-9719-717B98437461}"/>
              </a:ext>
            </a:extLst>
          </p:cNvPr>
          <p:cNvGrpSpPr/>
          <p:nvPr/>
        </p:nvGrpSpPr>
        <p:grpSpPr>
          <a:xfrm>
            <a:off x="5086058" y="3901387"/>
            <a:ext cx="327025" cy="327025"/>
            <a:chOff x="4125913" y="2552700"/>
            <a:chExt cx="327025" cy="327025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A59377F9-0732-4BB4-86A0-E0B7ACF9F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550" y="2663825"/>
              <a:ext cx="193675" cy="195263"/>
            </a:xfrm>
            <a:custGeom>
              <a:avLst/>
              <a:gdLst>
                <a:gd name="T0" fmla="*/ 33 w 860"/>
                <a:gd name="T1" fmla="*/ 860 h 860"/>
                <a:gd name="T2" fmla="*/ 33 w 860"/>
                <a:gd name="T3" fmla="*/ 860 h 860"/>
                <a:gd name="T4" fmla="*/ 27 w 860"/>
                <a:gd name="T5" fmla="*/ 859 h 860"/>
                <a:gd name="T6" fmla="*/ 21 w 860"/>
                <a:gd name="T7" fmla="*/ 857 h 860"/>
                <a:gd name="T8" fmla="*/ 16 w 860"/>
                <a:gd name="T9" fmla="*/ 854 h 860"/>
                <a:gd name="T10" fmla="*/ 11 w 860"/>
                <a:gd name="T11" fmla="*/ 850 h 860"/>
                <a:gd name="T12" fmla="*/ 11 w 860"/>
                <a:gd name="T13" fmla="*/ 850 h 860"/>
                <a:gd name="T14" fmla="*/ 5 w 860"/>
                <a:gd name="T15" fmla="*/ 845 h 860"/>
                <a:gd name="T16" fmla="*/ 3 w 860"/>
                <a:gd name="T17" fmla="*/ 840 h 860"/>
                <a:gd name="T18" fmla="*/ 1 w 860"/>
                <a:gd name="T19" fmla="*/ 833 h 860"/>
                <a:gd name="T20" fmla="*/ 0 w 860"/>
                <a:gd name="T21" fmla="*/ 827 h 860"/>
                <a:gd name="T22" fmla="*/ 1 w 860"/>
                <a:gd name="T23" fmla="*/ 821 h 860"/>
                <a:gd name="T24" fmla="*/ 3 w 860"/>
                <a:gd name="T25" fmla="*/ 815 h 860"/>
                <a:gd name="T26" fmla="*/ 5 w 860"/>
                <a:gd name="T27" fmla="*/ 809 h 860"/>
                <a:gd name="T28" fmla="*/ 11 w 860"/>
                <a:gd name="T29" fmla="*/ 803 h 860"/>
                <a:gd name="T30" fmla="*/ 803 w 860"/>
                <a:gd name="T31" fmla="*/ 10 h 860"/>
                <a:gd name="T32" fmla="*/ 803 w 860"/>
                <a:gd name="T33" fmla="*/ 10 h 860"/>
                <a:gd name="T34" fmla="*/ 809 w 860"/>
                <a:gd name="T35" fmla="*/ 6 h 860"/>
                <a:gd name="T36" fmla="*/ 815 w 860"/>
                <a:gd name="T37" fmla="*/ 2 h 860"/>
                <a:gd name="T38" fmla="*/ 821 w 860"/>
                <a:gd name="T39" fmla="*/ 1 h 860"/>
                <a:gd name="T40" fmla="*/ 827 w 860"/>
                <a:gd name="T41" fmla="*/ 0 h 860"/>
                <a:gd name="T42" fmla="*/ 833 w 860"/>
                <a:gd name="T43" fmla="*/ 1 h 860"/>
                <a:gd name="T44" fmla="*/ 840 w 860"/>
                <a:gd name="T45" fmla="*/ 2 h 860"/>
                <a:gd name="T46" fmla="*/ 845 w 860"/>
                <a:gd name="T47" fmla="*/ 6 h 860"/>
                <a:gd name="T48" fmla="*/ 850 w 860"/>
                <a:gd name="T49" fmla="*/ 10 h 860"/>
                <a:gd name="T50" fmla="*/ 850 w 860"/>
                <a:gd name="T51" fmla="*/ 10 h 860"/>
                <a:gd name="T52" fmla="*/ 855 w 860"/>
                <a:gd name="T53" fmla="*/ 15 h 860"/>
                <a:gd name="T54" fmla="*/ 857 w 860"/>
                <a:gd name="T55" fmla="*/ 21 h 860"/>
                <a:gd name="T56" fmla="*/ 859 w 860"/>
                <a:gd name="T57" fmla="*/ 27 h 860"/>
                <a:gd name="T58" fmla="*/ 860 w 860"/>
                <a:gd name="T59" fmla="*/ 34 h 860"/>
                <a:gd name="T60" fmla="*/ 859 w 860"/>
                <a:gd name="T61" fmla="*/ 40 h 860"/>
                <a:gd name="T62" fmla="*/ 857 w 860"/>
                <a:gd name="T63" fmla="*/ 46 h 860"/>
                <a:gd name="T64" fmla="*/ 855 w 860"/>
                <a:gd name="T65" fmla="*/ 52 h 860"/>
                <a:gd name="T66" fmla="*/ 850 w 860"/>
                <a:gd name="T67" fmla="*/ 57 h 860"/>
                <a:gd name="T68" fmla="*/ 57 w 860"/>
                <a:gd name="T69" fmla="*/ 850 h 860"/>
                <a:gd name="T70" fmla="*/ 57 w 860"/>
                <a:gd name="T71" fmla="*/ 850 h 860"/>
                <a:gd name="T72" fmla="*/ 52 w 860"/>
                <a:gd name="T73" fmla="*/ 854 h 860"/>
                <a:gd name="T74" fmla="*/ 46 w 860"/>
                <a:gd name="T75" fmla="*/ 857 h 860"/>
                <a:gd name="T76" fmla="*/ 40 w 860"/>
                <a:gd name="T77" fmla="*/ 859 h 860"/>
                <a:gd name="T78" fmla="*/ 33 w 860"/>
                <a:gd name="T79" fmla="*/ 860 h 860"/>
                <a:gd name="T80" fmla="*/ 33 w 860"/>
                <a:gd name="T81" fmla="*/ 86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0" h="860">
                  <a:moveTo>
                    <a:pt x="33" y="860"/>
                  </a:moveTo>
                  <a:lnTo>
                    <a:pt x="33" y="860"/>
                  </a:lnTo>
                  <a:lnTo>
                    <a:pt x="27" y="859"/>
                  </a:lnTo>
                  <a:lnTo>
                    <a:pt x="21" y="857"/>
                  </a:lnTo>
                  <a:lnTo>
                    <a:pt x="16" y="854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5" y="845"/>
                  </a:lnTo>
                  <a:lnTo>
                    <a:pt x="3" y="840"/>
                  </a:lnTo>
                  <a:lnTo>
                    <a:pt x="1" y="833"/>
                  </a:lnTo>
                  <a:lnTo>
                    <a:pt x="0" y="827"/>
                  </a:lnTo>
                  <a:lnTo>
                    <a:pt x="1" y="821"/>
                  </a:lnTo>
                  <a:lnTo>
                    <a:pt x="3" y="815"/>
                  </a:lnTo>
                  <a:lnTo>
                    <a:pt x="5" y="809"/>
                  </a:lnTo>
                  <a:lnTo>
                    <a:pt x="11" y="803"/>
                  </a:lnTo>
                  <a:lnTo>
                    <a:pt x="803" y="10"/>
                  </a:lnTo>
                  <a:lnTo>
                    <a:pt x="803" y="10"/>
                  </a:lnTo>
                  <a:lnTo>
                    <a:pt x="809" y="6"/>
                  </a:lnTo>
                  <a:lnTo>
                    <a:pt x="815" y="2"/>
                  </a:lnTo>
                  <a:lnTo>
                    <a:pt x="821" y="1"/>
                  </a:lnTo>
                  <a:lnTo>
                    <a:pt x="827" y="0"/>
                  </a:lnTo>
                  <a:lnTo>
                    <a:pt x="833" y="1"/>
                  </a:lnTo>
                  <a:lnTo>
                    <a:pt x="840" y="2"/>
                  </a:lnTo>
                  <a:lnTo>
                    <a:pt x="845" y="6"/>
                  </a:lnTo>
                  <a:lnTo>
                    <a:pt x="850" y="10"/>
                  </a:lnTo>
                  <a:lnTo>
                    <a:pt x="850" y="10"/>
                  </a:lnTo>
                  <a:lnTo>
                    <a:pt x="855" y="15"/>
                  </a:lnTo>
                  <a:lnTo>
                    <a:pt x="857" y="21"/>
                  </a:lnTo>
                  <a:lnTo>
                    <a:pt x="859" y="27"/>
                  </a:lnTo>
                  <a:lnTo>
                    <a:pt x="860" y="34"/>
                  </a:lnTo>
                  <a:lnTo>
                    <a:pt x="859" y="40"/>
                  </a:lnTo>
                  <a:lnTo>
                    <a:pt x="857" y="46"/>
                  </a:lnTo>
                  <a:lnTo>
                    <a:pt x="855" y="52"/>
                  </a:lnTo>
                  <a:lnTo>
                    <a:pt x="850" y="57"/>
                  </a:lnTo>
                  <a:lnTo>
                    <a:pt x="57" y="850"/>
                  </a:lnTo>
                  <a:lnTo>
                    <a:pt x="57" y="850"/>
                  </a:lnTo>
                  <a:lnTo>
                    <a:pt x="52" y="854"/>
                  </a:lnTo>
                  <a:lnTo>
                    <a:pt x="46" y="857"/>
                  </a:lnTo>
                  <a:lnTo>
                    <a:pt x="40" y="859"/>
                  </a:lnTo>
                  <a:lnTo>
                    <a:pt x="33" y="860"/>
                  </a:lnTo>
                  <a:lnTo>
                    <a:pt x="33" y="86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C753BC8E-606F-4075-8751-D83A533538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5913" y="2552700"/>
              <a:ext cx="327025" cy="327025"/>
            </a:xfrm>
            <a:custGeom>
              <a:avLst/>
              <a:gdLst>
                <a:gd name="T0" fmla="*/ 509 w 1444"/>
                <a:gd name="T1" fmla="*/ 1438 h 1443"/>
                <a:gd name="T2" fmla="*/ 379 w 1444"/>
                <a:gd name="T3" fmla="*/ 1406 h 1443"/>
                <a:gd name="T4" fmla="*/ 244 w 1444"/>
                <a:gd name="T5" fmla="*/ 1345 h 1443"/>
                <a:gd name="T6" fmla="*/ 153 w 1444"/>
                <a:gd name="T7" fmla="*/ 1289 h 1443"/>
                <a:gd name="T8" fmla="*/ 75 w 1444"/>
                <a:gd name="T9" fmla="*/ 1153 h 1443"/>
                <a:gd name="T10" fmla="*/ 20 w 1444"/>
                <a:gd name="T11" fmla="*/ 1007 h 1443"/>
                <a:gd name="T12" fmla="*/ 2 w 1444"/>
                <a:gd name="T13" fmla="*/ 905 h 1443"/>
                <a:gd name="T14" fmla="*/ 2 w 1444"/>
                <a:gd name="T15" fmla="*/ 808 h 1443"/>
                <a:gd name="T16" fmla="*/ 21 w 1444"/>
                <a:gd name="T17" fmla="*/ 715 h 1443"/>
                <a:gd name="T18" fmla="*/ 48 w 1444"/>
                <a:gd name="T19" fmla="*/ 643 h 1443"/>
                <a:gd name="T20" fmla="*/ 119 w 1444"/>
                <a:gd name="T21" fmla="*/ 530 h 1443"/>
                <a:gd name="T22" fmla="*/ 216 w 1444"/>
                <a:gd name="T23" fmla="*/ 429 h 1443"/>
                <a:gd name="T24" fmla="*/ 331 w 1444"/>
                <a:gd name="T25" fmla="*/ 342 h 1443"/>
                <a:gd name="T26" fmla="*/ 517 w 1444"/>
                <a:gd name="T27" fmla="*/ 240 h 1443"/>
                <a:gd name="T28" fmla="*/ 801 w 1444"/>
                <a:gd name="T29" fmla="*/ 130 h 1443"/>
                <a:gd name="T30" fmla="*/ 1072 w 1444"/>
                <a:gd name="T31" fmla="*/ 58 h 1443"/>
                <a:gd name="T32" fmla="*/ 1387 w 1444"/>
                <a:gd name="T33" fmla="*/ 2 h 1443"/>
                <a:gd name="T34" fmla="*/ 1428 w 1444"/>
                <a:gd name="T35" fmla="*/ 5 h 1443"/>
                <a:gd name="T36" fmla="*/ 1444 w 1444"/>
                <a:gd name="T37" fmla="*/ 29 h 1443"/>
                <a:gd name="T38" fmla="*/ 1426 w 1444"/>
                <a:gd name="T39" fmla="*/ 158 h 1443"/>
                <a:gd name="T40" fmla="*/ 1361 w 1444"/>
                <a:gd name="T41" fmla="*/ 475 h 1443"/>
                <a:gd name="T42" fmla="*/ 1274 w 1444"/>
                <a:gd name="T43" fmla="*/ 756 h 1443"/>
                <a:gd name="T44" fmla="*/ 1148 w 1444"/>
                <a:gd name="T45" fmla="*/ 1036 h 1443"/>
                <a:gd name="T46" fmla="*/ 1068 w 1444"/>
                <a:gd name="T47" fmla="*/ 1161 h 1443"/>
                <a:gd name="T48" fmla="*/ 976 w 1444"/>
                <a:gd name="T49" fmla="*/ 1268 h 1443"/>
                <a:gd name="T50" fmla="*/ 871 w 1444"/>
                <a:gd name="T51" fmla="*/ 1355 h 1443"/>
                <a:gd name="T52" fmla="*/ 774 w 1444"/>
                <a:gd name="T53" fmla="*/ 1406 h 1443"/>
                <a:gd name="T54" fmla="*/ 641 w 1444"/>
                <a:gd name="T55" fmla="*/ 1440 h 1443"/>
                <a:gd name="T56" fmla="*/ 201 w 1444"/>
                <a:gd name="T57" fmla="*/ 1242 h 1443"/>
                <a:gd name="T58" fmla="*/ 396 w 1444"/>
                <a:gd name="T59" fmla="*/ 1341 h 1443"/>
                <a:gd name="T60" fmla="*/ 558 w 1444"/>
                <a:gd name="T61" fmla="*/ 1376 h 1443"/>
                <a:gd name="T62" fmla="*/ 644 w 1444"/>
                <a:gd name="T63" fmla="*/ 1373 h 1443"/>
                <a:gd name="T64" fmla="*/ 726 w 1444"/>
                <a:gd name="T65" fmla="*/ 1354 h 1443"/>
                <a:gd name="T66" fmla="*/ 792 w 1444"/>
                <a:gd name="T67" fmla="*/ 1325 h 1443"/>
                <a:gd name="T68" fmla="*/ 885 w 1444"/>
                <a:gd name="T69" fmla="*/ 1262 h 1443"/>
                <a:gd name="T70" fmla="*/ 968 w 1444"/>
                <a:gd name="T71" fmla="*/ 1179 h 1443"/>
                <a:gd name="T72" fmla="*/ 1069 w 1444"/>
                <a:gd name="T73" fmla="*/ 1039 h 1443"/>
                <a:gd name="T74" fmla="*/ 1184 w 1444"/>
                <a:gd name="T75" fmla="*/ 803 h 1443"/>
                <a:gd name="T76" fmla="*/ 1269 w 1444"/>
                <a:gd name="T77" fmla="*/ 554 h 1443"/>
                <a:gd name="T78" fmla="*/ 1344 w 1444"/>
                <a:gd name="T79" fmla="*/ 245 h 1443"/>
                <a:gd name="T80" fmla="*/ 1327 w 1444"/>
                <a:gd name="T81" fmla="*/ 77 h 1443"/>
                <a:gd name="T82" fmla="*/ 984 w 1444"/>
                <a:gd name="T83" fmla="*/ 149 h 1443"/>
                <a:gd name="T84" fmla="*/ 740 w 1444"/>
                <a:gd name="T85" fmla="*/ 222 h 1443"/>
                <a:gd name="T86" fmla="*/ 496 w 1444"/>
                <a:gd name="T87" fmla="*/ 325 h 1443"/>
                <a:gd name="T88" fmla="*/ 301 w 1444"/>
                <a:gd name="T89" fmla="*/ 445 h 1443"/>
                <a:gd name="T90" fmla="*/ 212 w 1444"/>
                <a:gd name="T91" fmla="*/ 524 h 1443"/>
                <a:gd name="T92" fmla="*/ 141 w 1444"/>
                <a:gd name="T93" fmla="*/ 613 h 1443"/>
                <a:gd name="T94" fmla="*/ 102 w 1444"/>
                <a:gd name="T95" fmla="*/ 687 h 1443"/>
                <a:gd name="T96" fmla="*/ 76 w 1444"/>
                <a:gd name="T97" fmla="*/ 766 h 1443"/>
                <a:gd name="T98" fmla="*/ 67 w 1444"/>
                <a:gd name="T99" fmla="*/ 850 h 1443"/>
                <a:gd name="T100" fmla="*/ 80 w 1444"/>
                <a:gd name="T101" fmla="*/ 974 h 1443"/>
                <a:gd name="T102" fmla="*/ 153 w 1444"/>
                <a:gd name="T103" fmla="*/ 116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4" h="1443">
                  <a:moveTo>
                    <a:pt x="585" y="1443"/>
                  </a:moveTo>
                  <a:lnTo>
                    <a:pt x="585" y="1443"/>
                  </a:lnTo>
                  <a:lnTo>
                    <a:pt x="560" y="1442"/>
                  </a:lnTo>
                  <a:lnTo>
                    <a:pt x="535" y="1441"/>
                  </a:lnTo>
                  <a:lnTo>
                    <a:pt x="509" y="1438"/>
                  </a:lnTo>
                  <a:lnTo>
                    <a:pt x="485" y="1434"/>
                  </a:lnTo>
                  <a:lnTo>
                    <a:pt x="459" y="1429"/>
                  </a:lnTo>
                  <a:lnTo>
                    <a:pt x="432" y="1423"/>
                  </a:lnTo>
                  <a:lnTo>
                    <a:pt x="406" y="1414"/>
                  </a:lnTo>
                  <a:lnTo>
                    <a:pt x="379" y="1406"/>
                  </a:lnTo>
                  <a:lnTo>
                    <a:pt x="352" y="1396"/>
                  </a:lnTo>
                  <a:lnTo>
                    <a:pt x="325" y="1384"/>
                  </a:lnTo>
                  <a:lnTo>
                    <a:pt x="298" y="1373"/>
                  </a:lnTo>
                  <a:lnTo>
                    <a:pt x="270" y="1359"/>
                  </a:lnTo>
                  <a:lnTo>
                    <a:pt x="244" y="1345"/>
                  </a:lnTo>
                  <a:lnTo>
                    <a:pt x="216" y="1328"/>
                  </a:lnTo>
                  <a:lnTo>
                    <a:pt x="188" y="1312"/>
                  </a:lnTo>
                  <a:lnTo>
                    <a:pt x="159" y="1294"/>
                  </a:lnTo>
                  <a:lnTo>
                    <a:pt x="159" y="1294"/>
                  </a:lnTo>
                  <a:lnTo>
                    <a:pt x="153" y="1289"/>
                  </a:lnTo>
                  <a:lnTo>
                    <a:pt x="149" y="1284"/>
                  </a:lnTo>
                  <a:lnTo>
                    <a:pt x="149" y="1284"/>
                  </a:lnTo>
                  <a:lnTo>
                    <a:pt x="121" y="1240"/>
                  </a:lnTo>
                  <a:lnTo>
                    <a:pt x="97" y="1196"/>
                  </a:lnTo>
                  <a:lnTo>
                    <a:pt x="75" y="1153"/>
                  </a:lnTo>
                  <a:lnTo>
                    <a:pt x="55" y="1111"/>
                  </a:lnTo>
                  <a:lnTo>
                    <a:pt x="40" y="1069"/>
                  </a:lnTo>
                  <a:lnTo>
                    <a:pt x="32" y="1048"/>
                  </a:lnTo>
                  <a:lnTo>
                    <a:pt x="26" y="1027"/>
                  </a:lnTo>
                  <a:lnTo>
                    <a:pt x="20" y="1007"/>
                  </a:lnTo>
                  <a:lnTo>
                    <a:pt x="15" y="986"/>
                  </a:lnTo>
                  <a:lnTo>
                    <a:pt x="11" y="965"/>
                  </a:lnTo>
                  <a:lnTo>
                    <a:pt x="8" y="946"/>
                  </a:lnTo>
                  <a:lnTo>
                    <a:pt x="4" y="926"/>
                  </a:lnTo>
                  <a:lnTo>
                    <a:pt x="2" y="905"/>
                  </a:lnTo>
                  <a:lnTo>
                    <a:pt x="1" y="885"/>
                  </a:lnTo>
                  <a:lnTo>
                    <a:pt x="0" y="866"/>
                  </a:lnTo>
                  <a:lnTo>
                    <a:pt x="0" y="847"/>
                  </a:lnTo>
                  <a:lnTo>
                    <a:pt x="1" y="828"/>
                  </a:lnTo>
                  <a:lnTo>
                    <a:pt x="2" y="808"/>
                  </a:lnTo>
                  <a:lnTo>
                    <a:pt x="4" y="789"/>
                  </a:lnTo>
                  <a:lnTo>
                    <a:pt x="8" y="771"/>
                  </a:lnTo>
                  <a:lnTo>
                    <a:pt x="12" y="752"/>
                  </a:lnTo>
                  <a:lnTo>
                    <a:pt x="16" y="733"/>
                  </a:lnTo>
                  <a:lnTo>
                    <a:pt x="21" y="715"/>
                  </a:lnTo>
                  <a:lnTo>
                    <a:pt x="26" y="697"/>
                  </a:lnTo>
                  <a:lnTo>
                    <a:pt x="33" y="679"/>
                  </a:lnTo>
                  <a:lnTo>
                    <a:pt x="41" y="661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60" y="620"/>
                  </a:lnTo>
                  <a:lnTo>
                    <a:pt x="74" y="596"/>
                  </a:lnTo>
                  <a:lnTo>
                    <a:pt x="88" y="573"/>
                  </a:lnTo>
                  <a:lnTo>
                    <a:pt x="103" y="551"/>
                  </a:lnTo>
                  <a:lnTo>
                    <a:pt x="119" y="530"/>
                  </a:lnTo>
                  <a:lnTo>
                    <a:pt x="137" y="508"/>
                  </a:lnTo>
                  <a:lnTo>
                    <a:pt x="156" y="488"/>
                  </a:lnTo>
                  <a:lnTo>
                    <a:pt x="174" y="467"/>
                  </a:lnTo>
                  <a:lnTo>
                    <a:pt x="195" y="448"/>
                  </a:lnTo>
                  <a:lnTo>
                    <a:pt x="216" y="429"/>
                  </a:lnTo>
                  <a:lnTo>
                    <a:pt x="237" y="411"/>
                  </a:lnTo>
                  <a:lnTo>
                    <a:pt x="260" y="393"/>
                  </a:lnTo>
                  <a:lnTo>
                    <a:pt x="283" y="375"/>
                  </a:lnTo>
                  <a:lnTo>
                    <a:pt x="307" y="359"/>
                  </a:lnTo>
                  <a:lnTo>
                    <a:pt x="331" y="342"/>
                  </a:lnTo>
                  <a:lnTo>
                    <a:pt x="356" y="326"/>
                  </a:lnTo>
                  <a:lnTo>
                    <a:pt x="382" y="310"/>
                  </a:lnTo>
                  <a:lnTo>
                    <a:pt x="408" y="296"/>
                  </a:lnTo>
                  <a:lnTo>
                    <a:pt x="462" y="267"/>
                  </a:lnTo>
                  <a:lnTo>
                    <a:pt x="517" y="240"/>
                  </a:lnTo>
                  <a:lnTo>
                    <a:pt x="573" y="215"/>
                  </a:lnTo>
                  <a:lnTo>
                    <a:pt x="630" y="191"/>
                  </a:lnTo>
                  <a:lnTo>
                    <a:pt x="687" y="169"/>
                  </a:lnTo>
                  <a:lnTo>
                    <a:pt x="744" y="149"/>
                  </a:lnTo>
                  <a:lnTo>
                    <a:pt x="801" y="130"/>
                  </a:lnTo>
                  <a:lnTo>
                    <a:pt x="858" y="113"/>
                  </a:lnTo>
                  <a:lnTo>
                    <a:pt x="914" y="97"/>
                  </a:lnTo>
                  <a:lnTo>
                    <a:pt x="968" y="83"/>
                  </a:lnTo>
                  <a:lnTo>
                    <a:pt x="1022" y="70"/>
                  </a:lnTo>
                  <a:lnTo>
                    <a:pt x="1072" y="58"/>
                  </a:lnTo>
                  <a:lnTo>
                    <a:pt x="1121" y="47"/>
                  </a:lnTo>
                  <a:lnTo>
                    <a:pt x="1210" y="30"/>
                  </a:lnTo>
                  <a:lnTo>
                    <a:pt x="1286" y="17"/>
                  </a:lnTo>
                  <a:lnTo>
                    <a:pt x="1346" y="8"/>
                  </a:lnTo>
                  <a:lnTo>
                    <a:pt x="1387" y="2"/>
                  </a:lnTo>
                  <a:lnTo>
                    <a:pt x="1408" y="0"/>
                  </a:lnTo>
                  <a:lnTo>
                    <a:pt x="1408" y="0"/>
                  </a:lnTo>
                  <a:lnTo>
                    <a:pt x="1415" y="0"/>
                  </a:lnTo>
                  <a:lnTo>
                    <a:pt x="1422" y="2"/>
                  </a:lnTo>
                  <a:lnTo>
                    <a:pt x="1428" y="5"/>
                  </a:lnTo>
                  <a:lnTo>
                    <a:pt x="1435" y="9"/>
                  </a:lnTo>
                  <a:lnTo>
                    <a:pt x="1435" y="9"/>
                  </a:lnTo>
                  <a:lnTo>
                    <a:pt x="1439" y="15"/>
                  </a:lnTo>
                  <a:lnTo>
                    <a:pt x="1442" y="22"/>
                  </a:lnTo>
                  <a:lnTo>
                    <a:pt x="1444" y="29"/>
                  </a:lnTo>
                  <a:lnTo>
                    <a:pt x="1444" y="36"/>
                  </a:lnTo>
                  <a:lnTo>
                    <a:pt x="1444" y="36"/>
                  </a:lnTo>
                  <a:lnTo>
                    <a:pt x="1441" y="57"/>
                  </a:lnTo>
                  <a:lnTo>
                    <a:pt x="1436" y="98"/>
                  </a:lnTo>
                  <a:lnTo>
                    <a:pt x="1426" y="158"/>
                  </a:lnTo>
                  <a:lnTo>
                    <a:pt x="1414" y="234"/>
                  </a:lnTo>
                  <a:lnTo>
                    <a:pt x="1396" y="323"/>
                  </a:lnTo>
                  <a:lnTo>
                    <a:pt x="1386" y="371"/>
                  </a:lnTo>
                  <a:lnTo>
                    <a:pt x="1374" y="422"/>
                  </a:lnTo>
                  <a:lnTo>
                    <a:pt x="1361" y="475"/>
                  </a:lnTo>
                  <a:lnTo>
                    <a:pt x="1347" y="530"/>
                  </a:lnTo>
                  <a:lnTo>
                    <a:pt x="1330" y="585"/>
                  </a:lnTo>
                  <a:lnTo>
                    <a:pt x="1314" y="641"/>
                  </a:lnTo>
                  <a:lnTo>
                    <a:pt x="1295" y="699"/>
                  </a:lnTo>
                  <a:lnTo>
                    <a:pt x="1274" y="756"/>
                  </a:lnTo>
                  <a:lnTo>
                    <a:pt x="1253" y="814"/>
                  </a:lnTo>
                  <a:lnTo>
                    <a:pt x="1229" y="871"/>
                  </a:lnTo>
                  <a:lnTo>
                    <a:pt x="1204" y="927"/>
                  </a:lnTo>
                  <a:lnTo>
                    <a:pt x="1177" y="982"/>
                  </a:lnTo>
                  <a:lnTo>
                    <a:pt x="1148" y="1036"/>
                  </a:lnTo>
                  <a:lnTo>
                    <a:pt x="1134" y="1061"/>
                  </a:lnTo>
                  <a:lnTo>
                    <a:pt x="1118" y="1087"/>
                  </a:lnTo>
                  <a:lnTo>
                    <a:pt x="1101" y="1112"/>
                  </a:lnTo>
                  <a:lnTo>
                    <a:pt x="1085" y="1136"/>
                  </a:lnTo>
                  <a:lnTo>
                    <a:pt x="1068" y="1161"/>
                  </a:lnTo>
                  <a:lnTo>
                    <a:pt x="1051" y="1183"/>
                  </a:lnTo>
                  <a:lnTo>
                    <a:pt x="1033" y="1206"/>
                  </a:lnTo>
                  <a:lnTo>
                    <a:pt x="1015" y="1228"/>
                  </a:lnTo>
                  <a:lnTo>
                    <a:pt x="995" y="1249"/>
                  </a:lnTo>
                  <a:lnTo>
                    <a:pt x="976" y="1268"/>
                  </a:lnTo>
                  <a:lnTo>
                    <a:pt x="956" y="1288"/>
                  </a:lnTo>
                  <a:lnTo>
                    <a:pt x="935" y="1307"/>
                  </a:lnTo>
                  <a:lnTo>
                    <a:pt x="914" y="1324"/>
                  </a:lnTo>
                  <a:lnTo>
                    <a:pt x="892" y="1340"/>
                  </a:lnTo>
                  <a:lnTo>
                    <a:pt x="871" y="1355"/>
                  </a:lnTo>
                  <a:lnTo>
                    <a:pt x="848" y="1370"/>
                  </a:lnTo>
                  <a:lnTo>
                    <a:pt x="824" y="1383"/>
                  </a:lnTo>
                  <a:lnTo>
                    <a:pt x="800" y="1395"/>
                  </a:lnTo>
                  <a:lnTo>
                    <a:pt x="800" y="1395"/>
                  </a:lnTo>
                  <a:lnTo>
                    <a:pt x="774" y="1406"/>
                  </a:lnTo>
                  <a:lnTo>
                    <a:pt x="749" y="1416"/>
                  </a:lnTo>
                  <a:lnTo>
                    <a:pt x="723" y="1425"/>
                  </a:lnTo>
                  <a:lnTo>
                    <a:pt x="696" y="1431"/>
                  </a:lnTo>
                  <a:lnTo>
                    <a:pt x="669" y="1436"/>
                  </a:lnTo>
                  <a:lnTo>
                    <a:pt x="641" y="1440"/>
                  </a:lnTo>
                  <a:lnTo>
                    <a:pt x="613" y="1442"/>
                  </a:lnTo>
                  <a:lnTo>
                    <a:pt x="585" y="1443"/>
                  </a:lnTo>
                  <a:lnTo>
                    <a:pt x="585" y="1443"/>
                  </a:lnTo>
                  <a:close/>
                  <a:moveTo>
                    <a:pt x="201" y="1242"/>
                  </a:moveTo>
                  <a:lnTo>
                    <a:pt x="201" y="1242"/>
                  </a:lnTo>
                  <a:lnTo>
                    <a:pt x="241" y="1267"/>
                  </a:lnTo>
                  <a:lnTo>
                    <a:pt x="281" y="1289"/>
                  </a:lnTo>
                  <a:lnTo>
                    <a:pt x="319" y="1309"/>
                  </a:lnTo>
                  <a:lnTo>
                    <a:pt x="357" y="1326"/>
                  </a:lnTo>
                  <a:lnTo>
                    <a:pt x="396" y="1341"/>
                  </a:lnTo>
                  <a:lnTo>
                    <a:pt x="433" y="1353"/>
                  </a:lnTo>
                  <a:lnTo>
                    <a:pt x="469" y="1362"/>
                  </a:lnTo>
                  <a:lnTo>
                    <a:pt x="505" y="1370"/>
                  </a:lnTo>
                  <a:lnTo>
                    <a:pt x="541" y="1375"/>
                  </a:lnTo>
                  <a:lnTo>
                    <a:pt x="558" y="1376"/>
                  </a:lnTo>
                  <a:lnTo>
                    <a:pt x="576" y="1377"/>
                  </a:lnTo>
                  <a:lnTo>
                    <a:pt x="593" y="1377"/>
                  </a:lnTo>
                  <a:lnTo>
                    <a:pt x="610" y="1376"/>
                  </a:lnTo>
                  <a:lnTo>
                    <a:pt x="626" y="1375"/>
                  </a:lnTo>
                  <a:lnTo>
                    <a:pt x="644" y="1373"/>
                  </a:lnTo>
                  <a:lnTo>
                    <a:pt x="661" y="1371"/>
                  </a:lnTo>
                  <a:lnTo>
                    <a:pt x="677" y="1368"/>
                  </a:lnTo>
                  <a:lnTo>
                    <a:pt x="693" y="1364"/>
                  </a:lnTo>
                  <a:lnTo>
                    <a:pt x="709" y="1359"/>
                  </a:lnTo>
                  <a:lnTo>
                    <a:pt x="726" y="1354"/>
                  </a:lnTo>
                  <a:lnTo>
                    <a:pt x="741" y="1348"/>
                  </a:lnTo>
                  <a:lnTo>
                    <a:pt x="757" y="1342"/>
                  </a:lnTo>
                  <a:lnTo>
                    <a:pt x="772" y="1336"/>
                  </a:lnTo>
                  <a:lnTo>
                    <a:pt x="772" y="1336"/>
                  </a:lnTo>
                  <a:lnTo>
                    <a:pt x="792" y="1325"/>
                  </a:lnTo>
                  <a:lnTo>
                    <a:pt x="812" y="1315"/>
                  </a:lnTo>
                  <a:lnTo>
                    <a:pt x="830" y="1302"/>
                  </a:lnTo>
                  <a:lnTo>
                    <a:pt x="849" y="1290"/>
                  </a:lnTo>
                  <a:lnTo>
                    <a:pt x="868" y="1277"/>
                  </a:lnTo>
                  <a:lnTo>
                    <a:pt x="885" y="1262"/>
                  </a:lnTo>
                  <a:lnTo>
                    <a:pt x="903" y="1248"/>
                  </a:lnTo>
                  <a:lnTo>
                    <a:pt x="919" y="1231"/>
                  </a:lnTo>
                  <a:lnTo>
                    <a:pt x="936" y="1215"/>
                  </a:lnTo>
                  <a:lnTo>
                    <a:pt x="952" y="1198"/>
                  </a:lnTo>
                  <a:lnTo>
                    <a:pt x="968" y="1179"/>
                  </a:lnTo>
                  <a:lnTo>
                    <a:pt x="983" y="1161"/>
                  </a:lnTo>
                  <a:lnTo>
                    <a:pt x="999" y="1142"/>
                  </a:lnTo>
                  <a:lnTo>
                    <a:pt x="1013" y="1122"/>
                  </a:lnTo>
                  <a:lnTo>
                    <a:pt x="1042" y="1081"/>
                  </a:lnTo>
                  <a:lnTo>
                    <a:pt x="1069" y="1039"/>
                  </a:lnTo>
                  <a:lnTo>
                    <a:pt x="1095" y="993"/>
                  </a:lnTo>
                  <a:lnTo>
                    <a:pt x="1119" y="948"/>
                  </a:lnTo>
                  <a:lnTo>
                    <a:pt x="1142" y="900"/>
                  </a:lnTo>
                  <a:lnTo>
                    <a:pt x="1165" y="851"/>
                  </a:lnTo>
                  <a:lnTo>
                    <a:pt x="1184" y="803"/>
                  </a:lnTo>
                  <a:lnTo>
                    <a:pt x="1204" y="753"/>
                  </a:lnTo>
                  <a:lnTo>
                    <a:pt x="1221" y="703"/>
                  </a:lnTo>
                  <a:lnTo>
                    <a:pt x="1239" y="654"/>
                  </a:lnTo>
                  <a:lnTo>
                    <a:pt x="1255" y="604"/>
                  </a:lnTo>
                  <a:lnTo>
                    <a:pt x="1269" y="554"/>
                  </a:lnTo>
                  <a:lnTo>
                    <a:pt x="1283" y="507"/>
                  </a:lnTo>
                  <a:lnTo>
                    <a:pt x="1295" y="459"/>
                  </a:lnTo>
                  <a:lnTo>
                    <a:pt x="1306" y="413"/>
                  </a:lnTo>
                  <a:lnTo>
                    <a:pt x="1327" y="326"/>
                  </a:lnTo>
                  <a:lnTo>
                    <a:pt x="1344" y="245"/>
                  </a:lnTo>
                  <a:lnTo>
                    <a:pt x="1356" y="175"/>
                  </a:lnTo>
                  <a:lnTo>
                    <a:pt x="1365" y="117"/>
                  </a:lnTo>
                  <a:lnTo>
                    <a:pt x="1373" y="71"/>
                  </a:lnTo>
                  <a:lnTo>
                    <a:pt x="1373" y="71"/>
                  </a:lnTo>
                  <a:lnTo>
                    <a:pt x="1327" y="77"/>
                  </a:lnTo>
                  <a:lnTo>
                    <a:pt x="1269" y="88"/>
                  </a:lnTo>
                  <a:lnTo>
                    <a:pt x="1199" y="100"/>
                  </a:lnTo>
                  <a:lnTo>
                    <a:pt x="1118" y="117"/>
                  </a:lnTo>
                  <a:lnTo>
                    <a:pt x="1031" y="137"/>
                  </a:lnTo>
                  <a:lnTo>
                    <a:pt x="984" y="149"/>
                  </a:lnTo>
                  <a:lnTo>
                    <a:pt x="937" y="161"/>
                  </a:lnTo>
                  <a:lnTo>
                    <a:pt x="888" y="175"/>
                  </a:lnTo>
                  <a:lnTo>
                    <a:pt x="840" y="189"/>
                  </a:lnTo>
                  <a:lnTo>
                    <a:pt x="790" y="205"/>
                  </a:lnTo>
                  <a:lnTo>
                    <a:pt x="740" y="222"/>
                  </a:lnTo>
                  <a:lnTo>
                    <a:pt x="691" y="240"/>
                  </a:lnTo>
                  <a:lnTo>
                    <a:pt x="641" y="259"/>
                  </a:lnTo>
                  <a:lnTo>
                    <a:pt x="592" y="279"/>
                  </a:lnTo>
                  <a:lnTo>
                    <a:pt x="544" y="301"/>
                  </a:lnTo>
                  <a:lnTo>
                    <a:pt x="496" y="325"/>
                  </a:lnTo>
                  <a:lnTo>
                    <a:pt x="449" y="348"/>
                  </a:lnTo>
                  <a:lnTo>
                    <a:pt x="405" y="374"/>
                  </a:lnTo>
                  <a:lnTo>
                    <a:pt x="363" y="401"/>
                  </a:lnTo>
                  <a:lnTo>
                    <a:pt x="321" y="430"/>
                  </a:lnTo>
                  <a:lnTo>
                    <a:pt x="301" y="445"/>
                  </a:lnTo>
                  <a:lnTo>
                    <a:pt x="282" y="460"/>
                  </a:lnTo>
                  <a:lnTo>
                    <a:pt x="264" y="476"/>
                  </a:lnTo>
                  <a:lnTo>
                    <a:pt x="246" y="491"/>
                  </a:lnTo>
                  <a:lnTo>
                    <a:pt x="229" y="508"/>
                  </a:lnTo>
                  <a:lnTo>
                    <a:pt x="212" y="524"/>
                  </a:lnTo>
                  <a:lnTo>
                    <a:pt x="196" y="541"/>
                  </a:lnTo>
                  <a:lnTo>
                    <a:pt x="181" y="559"/>
                  </a:lnTo>
                  <a:lnTo>
                    <a:pt x="167" y="576"/>
                  </a:lnTo>
                  <a:lnTo>
                    <a:pt x="153" y="595"/>
                  </a:lnTo>
                  <a:lnTo>
                    <a:pt x="141" y="613"/>
                  </a:lnTo>
                  <a:lnTo>
                    <a:pt x="129" y="632"/>
                  </a:lnTo>
                  <a:lnTo>
                    <a:pt x="118" y="652"/>
                  </a:lnTo>
                  <a:lnTo>
                    <a:pt x="108" y="671"/>
                  </a:lnTo>
                  <a:lnTo>
                    <a:pt x="108" y="671"/>
                  </a:lnTo>
                  <a:lnTo>
                    <a:pt x="102" y="687"/>
                  </a:lnTo>
                  <a:lnTo>
                    <a:pt x="95" y="702"/>
                  </a:lnTo>
                  <a:lnTo>
                    <a:pt x="89" y="718"/>
                  </a:lnTo>
                  <a:lnTo>
                    <a:pt x="84" y="734"/>
                  </a:lnTo>
                  <a:lnTo>
                    <a:pt x="80" y="750"/>
                  </a:lnTo>
                  <a:lnTo>
                    <a:pt x="76" y="766"/>
                  </a:lnTo>
                  <a:lnTo>
                    <a:pt x="73" y="783"/>
                  </a:lnTo>
                  <a:lnTo>
                    <a:pt x="71" y="800"/>
                  </a:lnTo>
                  <a:lnTo>
                    <a:pt x="69" y="816"/>
                  </a:lnTo>
                  <a:lnTo>
                    <a:pt x="68" y="834"/>
                  </a:lnTo>
                  <a:lnTo>
                    <a:pt x="67" y="850"/>
                  </a:lnTo>
                  <a:lnTo>
                    <a:pt x="67" y="868"/>
                  </a:lnTo>
                  <a:lnTo>
                    <a:pt x="68" y="885"/>
                  </a:lnTo>
                  <a:lnTo>
                    <a:pt x="69" y="903"/>
                  </a:lnTo>
                  <a:lnTo>
                    <a:pt x="74" y="938"/>
                  </a:lnTo>
                  <a:lnTo>
                    <a:pt x="80" y="974"/>
                  </a:lnTo>
                  <a:lnTo>
                    <a:pt x="90" y="1011"/>
                  </a:lnTo>
                  <a:lnTo>
                    <a:pt x="103" y="1048"/>
                  </a:lnTo>
                  <a:lnTo>
                    <a:pt x="117" y="1086"/>
                  </a:lnTo>
                  <a:lnTo>
                    <a:pt x="134" y="1125"/>
                  </a:lnTo>
                  <a:lnTo>
                    <a:pt x="153" y="1163"/>
                  </a:lnTo>
                  <a:lnTo>
                    <a:pt x="176" y="1202"/>
                  </a:lnTo>
                  <a:lnTo>
                    <a:pt x="201" y="1242"/>
                  </a:lnTo>
                  <a:lnTo>
                    <a:pt x="201" y="124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8D120880-D523-4502-B7AC-2B26A347C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2709863"/>
              <a:ext cx="90488" cy="88900"/>
            </a:xfrm>
            <a:custGeom>
              <a:avLst/>
              <a:gdLst>
                <a:gd name="T0" fmla="*/ 363 w 397"/>
                <a:gd name="T1" fmla="*/ 396 h 396"/>
                <a:gd name="T2" fmla="*/ 33 w 397"/>
                <a:gd name="T3" fmla="*/ 396 h 396"/>
                <a:gd name="T4" fmla="*/ 33 w 397"/>
                <a:gd name="T5" fmla="*/ 396 h 396"/>
                <a:gd name="T6" fmla="*/ 26 w 397"/>
                <a:gd name="T7" fmla="*/ 395 h 396"/>
                <a:gd name="T8" fmla="*/ 20 w 397"/>
                <a:gd name="T9" fmla="*/ 394 h 396"/>
                <a:gd name="T10" fmla="*/ 15 w 397"/>
                <a:gd name="T11" fmla="*/ 391 h 396"/>
                <a:gd name="T12" fmla="*/ 10 w 397"/>
                <a:gd name="T13" fmla="*/ 387 h 396"/>
                <a:gd name="T14" fmla="*/ 5 w 397"/>
                <a:gd name="T15" fmla="*/ 382 h 396"/>
                <a:gd name="T16" fmla="*/ 2 w 397"/>
                <a:gd name="T17" fmla="*/ 377 h 396"/>
                <a:gd name="T18" fmla="*/ 0 w 397"/>
                <a:gd name="T19" fmla="*/ 370 h 396"/>
                <a:gd name="T20" fmla="*/ 0 w 397"/>
                <a:gd name="T21" fmla="*/ 363 h 396"/>
                <a:gd name="T22" fmla="*/ 0 w 397"/>
                <a:gd name="T23" fmla="*/ 33 h 396"/>
                <a:gd name="T24" fmla="*/ 0 w 397"/>
                <a:gd name="T25" fmla="*/ 33 h 396"/>
                <a:gd name="T26" fmla="*/ 0 w 397"/>
                <a:gd name="T27" fmla="*/ 26 h 396"/>
                <a:gd name="T28" fmla="*/ 2 w 397"/>
                <a:gd name="T29" fmla="*/ 20 h 396"/>
                <a:gd name="T30" fmla="*/ 5 w 397"/>
                <a:gd name="T31" fmla="*/ 15 h 396"/>
                <a:gd name="T32" fmla="*/ 10 w 397"/>
                <a:gd name="T33" fmla="*/ 9 h 396"/>
                <a:gd name="T34" fmla="*/ 15 w 397"/>
                <a:gd name="T35" fmla="*/ 5 h 396"/>
                <a:gd name="T36" fmla="*/ 20 w 397"/>
                <a:gd name="T37" fmla="*/ 2 h 396"/>
                <a:gd name="T38" fmla="*/ 26 w 397"/>
                <a:gd name="T39" fmla="*/ 0 h 396"/>
                <a:gd name="T40" fmla="*/ 33 w 397"/>
                <a:gd name="T41" fmla="*/ 0 h 396"/>
                <a:gd name="T42" fmla="*/ 33 w 397"/>
                <a:gd name="T43" fmla="*/ 0 h 396"/>
                <a:gd name="T44" fmla="*/ 40 w 397"/>
                <a:gd name="T45" fmla="*/ 0 h 396"/>
                <a:gd name="T46" fmla="*/ 46 w 397"/>
                <a:gd name="T47" fmla="*/ 2 h 396"/>
                <a:gd name="T48" fmla="*/ 52 w 397"/>
                <a:gd name="T49" fmla="*/ 5 h 396"/>
                <a:gd name="T50" fmla="*/ 56 w 397"/>
                <a:gd name="T51" fmla="*/ 9 h 396"/>
                <a:gd name="T52" fmla="*/ 60 w 397"/>
                <a:gd name="T53" fmla="*/ 15 h 396"/>
                <a:gd name="T54" fmla="*/ 63 w 397"/>
                <a:gd name="T55" fmla="*/ 20 h 396"/>
                <a:gd name="T56" fmla="*/ 65 w 397"/>
                <a:gd name="T57" fmla="*/ 26 h 396"/>
                <a:gd name="T58" fmla="*/ 66 w 397"/>
                <a:gd name="T59" fmla="*/ 33 h 396"/>
                <a:gd name="T60" fmla="*/ 66 w 397"/>
                <a:gd name="T61" fmla="*/ 330 h 396"/>
                <a:gd name="T62" fmla="*/ 363 w 397"/>
                <a:gd name="T63" fmla="*/ 330 h 396"/>
                <a:gd name="T64" fmla="*/ 363 w 397"/>
                <a:gd name="T65" fmla="*/ 330 h 396"/>
                <a:gd name="T66" fmla="*/ 371 w 397"/>
                <a:gd name="T67" fmla="*/ 331 h 396"/>
                <a:gd name="T68" fmla="*/ 377 w 397"/>
                <a:gd name="T69" fmla="*/ 333 h 396"/>
                <a:gd name="T70" fmla="*/ 382 w 397"/>
                <a:gd name="T71" fmla="*/ 336 h 396"/>
                <a:gd name="T72" fmla="*/ 387 w 397"/>
                <a:gd name="T73" fmla="*/ 340 h 396"/>
                <a:gd name="T74" fmla="*/ 391 w 397"/>
                <a:gd name="T75" fmla="*/ 345 h 396"/>
                <a:gd name="T76" fmla="*/ 395 w 397"/>
                <a:gd name="T77" fmla="*/ 351 h 396"/>
                <a:gd name="T78" fmla="*/ 396 w 397"/>
                <a:gd name="T79" fmla="*/ 357 h 396"/>
                <a:gd name="T80" fmla="*/ 397 w 397"/>
                <a:gd name="T81" fmla="*/ 363 h 396"/>
                <a:gd name="T82" fmla="*/ 397 w 397"/>
                <a:gd name="T83" fmla="*/ 363 h 396"/>
                <a:gd name="T84" fmla="*/ 396 w 397"/>
                <a:gd name="T85" fmla="*/ 370 h 396"/>
                <a:gd name="T86" fmla="*/ 395 w 397"/>
                <a:gd name="T87" fmla="*/ 377 h 396"/>
                <a:gd name="T88" fmla="*/ 391 w 397"/>
                <a:gd name="T89" fmla="*/ 382 h 396"/>
                <a:gd name="T90" fmla="*/ 387 w 397"/>
                <a:gd name="T91" fmla="*/ 387 h 396"/>
                <a:gd name="T92" fmla="*/ 382 w 397"/>
                <a:gd name="T93" fmla="*/ 391 h 396"/>
                <a:gd name="T94" fmla="*/ 377 w 397"/>
                <a:gd name="T95" fmla="*/ 394 h 396"/>
                <a:gd name="T96" fmla="*/ 371 w 397"/>
                <a:gd name="T97" fmla="*/ 395 h 396"/>
                <a:gd name="T98" fmla="*/ 363 w 397"/>
                <a:gd name="T99" fmla="*/ 396 h 396"/>
                <a:gd name="T100" fmla="*/ 363 w 397"/>
                <a:gd name="T101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396">
                  <a:moveTo>
                    <a:pt x="363" y="396"/>
                  </a:moveTo>
                  <a:lnTo>
                    <a:pt x="33" y="396"/>
                  </a:lnTo>
                  <a:lnTo>
                    <a:pt x="33" y="396"/>
                  </a:lnTo>
                  <a:lnTo>
                    <a:pt x="26" y="395"/>
                  </a:lnTo>
                  <a:lnTo>
                    <a:pt x="20" y="394"/>
                  </a:lnTo>
                  <a:lnTo>
                    <a:pt x="15" y="391"/>
                  </a:lnTo>
                  <a:lnTo>
                    <a:pt x="10" y="387"/>
                  </a:lnTo>
                  <a:lnTo>
                    <a:pt x="5" y="382"/>
                  </a:lnTo>
                  <a:lnTo>
                    <a:pt x="2" y="377"/>
                  </a:lnTo>
                  <a:lnTo>
                    <a:pt x="0" y="370"/>
                  </a:lnTo>
                  <a:lnTo>
                    <a:pt x="0" y="36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6" y="9"/>
                  </a:lnTo>
                  <a:lnTo>
                    <a:pt x="60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0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71" y="331"/>
                  </a:lnTo>
                  <a:lnTo>
                    <a:pt x="377" y="333"/>
                  </a:lnTo>
                  <a:lnTo>
                    <a:pt x="382" y="336"/>
                  </a:lnTo>
                  <a:lnTo>
                    <a:pt x="387" y="340"/>
                  </a:lnTo>
                  <a:lnTo>
                    <a:pt x="391" y="345"/>
                  </a:lnTo>
                  <a:lnTo>
                    <a:pt x="395" y="351"/>
                  </a:lnTo>
                  <a:lnTo>
                    <a:pt x="396" y="357"/>
                  </a:lnTo>
                  <a:lnTo>
                    <a:pt x="397" y="363"/>
                  </a:lnTo>
                  <a:lnTo>
                    <a:pt x="397" y="363"/>
                  </a:lnTo>
                  <a:lnTo>
                    <a:pt x="396" y="370"/>
                  </a:lnTo>
                  <a:lnTo>
                    <a:pt x="395" y="377"/>
                  </a:lnTo>
                  <a:lnTo>
                    <a:pt x="391" y="382"/>
                  </a:lnTo>
                  <a:lnTo>
                    <a:pt x="387" y="387"/>
                  </a:lnTo>
                  <a:lnTo>
                    <a:pt x="382" y="391"/>
                  </a:lnTo>
                  <a:lnTo>
                    <a:pt x="377" y="394"/>
                  </a:lnTo>
                  <a:lnTo>
                    <a:pt x="371" y="395"/>
                  </a:lnTo>
                  <a:lnTo>
                    <a:pt x="363" y="396"/>
                  </a:lnTo>
                  <a:lnTo>
                    <a:pt x="363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A0678FAE-13C4-4350-A491-417B9FA08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613" y="2671763"/>
              <a:ext cx="68263" cy="68263"/>
            </a:xfrm>
            <a:custGeom>
              <a:avLst/>
              <a:gdLst>
                <a:gd name="T0" fmla="*/ 265 w 298"/>
                <a:gd name="T1" fmla="*/ 298 h 298"/>
                <a:gd name="T2" fmla="*/ 33 w 298"/>
                <a:gd name="T3" fmla="*/ 298 h 298"/>
                <a:gd name="T4" fmla="*/ 33 w 298"/>
                <a:gd name="T5" fmla="*/ 298 h 298"/>
                <a:gd name="T6" fmla="*/ 27 w 298"/>
                <a:gd name="T7" fmla="*/ 296 h 298"/>
                <a:gd name="T8" fmla="*/ 21 w 298"/>
                <a:gd name="T9" fmla="*/ 294 h 298"/>
                <a:gd name="T10" fmla="*/ 15 w 298"/>
                <a:gd name="T11" fmla="*/ 291 h 298"/>
                <a:gd name="T12" fmla="*/ 10 w 298"/>
                <a:gd name="T13" fmla="*/ 287 h 298"/>
                <a:gd name="T14" fmla="*/ 6 w 298"/>
                <a:gd name="T15" fmla="*/ 282 h 298"/>
                <a:gd name="T16" fmla="*/ 3 w 298"/>
                <a:gd name="T17" fmla="*/ 277 h 298"/>
                <a:gd name="T18" fmla="*/ 1 w 298"/>
                <a:gd name="T19" fmla="*/ 271 h 298"/>
                <a:gd name="T20" fmla="*/ 0 w 298"/>
                <a:gd name="T21" fmla="*/ 264 h 298"/>
                <a:gd name="T22" fmla="*/ 0 w 298"/>
                <a:gd name="T23" fmla="*/ 33 h 298"/>
                <a:gd name="T24" fmla="*/ 0 w 298"/>
                <a:gd name="T25" fmla="*/ 33 h 298"/>
                <a:gd name="T26" fmla="*/ 1 w 298"/>
                <a:gd name="T27" fmla="*/ 26 h 298"/>
                <a:gd name="T28" fmla="*/ 3 w 298"/>
                <a:gd name="T29" fmla="*/ 20 h 298"/>
                <a:gd name="T30" fmla="*/ 6 w 298"/>
                <a:gd name="T31" fmla="*/ 14 h 298"/>
                <a:gd name="T32" fmla="*/ 10 w 298"/>
                <a:gd name="T33" fmla="*/ 9 h 298"/>
                <a:gd name="T34" fmla="*/ 15 w 298"/>
                <a:gd name="T35" fmla="*/ 6 h 298"/>
                <a:gd name="T36" fmla="*/ 21 w 298"/>
                <a:gd name="T37" fmla="*/ 3 h 298"/>
                <a:gd name="T38" fmla="*/ 27 w 298"/>
                <a:gd name="T39" fmla="*/ 1 h 298"/>
                <a:gd name="T40" fmla="*/ 33 w 298"/>
                <a:gd name="T41" fmla="*/ 0 h 298"/>
                <a:gd name="T42" fmla="*/ 33 w 298"/>
                <a:gd name="T43" fmla="*/ 0 h 298"/>
                <a:gd name="T44" fmla="*/ 40 w 298"/>
                <a:gd name="T45" fmla="*/ 1 h 298"/>
                <a:gd name="T46" fmla="*/ 47 w 298"/>
                <a:gd name="T47" fmla="*/ 3 h 298"/>
                <a:gd name="T48" fmla="*/ 52 w 298"/>
                <a:gd name="T49" fmla="*/ 6 h 298"/>
                <a:gd name="T50" fmla="*/ 57 w 298"/>
                <a:gd name="T51" fmla="*/ 9 h 298"/>
                <a:gd name="T52" fmla="*/ 61 w 298"/>
                <a:gd name="T53" fmla="*/ 14 h 298"/>
                <a:gd name="T54" fmla="*/ 64 w 298"/>
                <a:gd name="T55" fmla="*/ 20 h 298"/>
                <a:gd name="T56" fmla="*/ 66 w 298"/>
                <a:gd name="T57" fmla="*/ 26 h 298"/>
                <a:gd name="T58" fmla="*/ 66 w 298"/>
                <a:gd name="T59" fmla="*/ 33 h 298"/>
                <a:gd name="T60" fmla="*/ 66 w 298"/>
                <a:gd name="T61" fmla="*/ 231 h 298"/>
                <a:gd name="T62" fmla="*/ 265 w 298"/>
                <a:gd name="T63" fmla="*/ 231 h 298"/>
                <a:gd name="T64" fmla="*/ 265 w 298"/>
                <a:gd name="T65" fmla="*/ 231 h 298"/>
                <a:gd name="T66" fmla="*/ 271 w 298"/>
                <a:gd name="T67" fmla="*/ 231 h 298"/>
                <a:gd name="T68" fmla="*/ 277 w 298"/>
                <a:gd name="T69" fmla="*/ 233 h 298"/>
                <a:gd name="T70" fmla="*/ 284 w 298"/>
                <a:gd name="T71" fmla="*/ 236 h 298"/>
                <a:gd name="T72" fmla="*/ 289 w 298"/>
                <a:gd name="T73" fmla="*/ 241 h 298"/>
                <a:gd name="T74" fmla="*/ 292 w 298"/>
                <a:gd name="T75" fmla="*/ 246 h 298"/>
                <a:gd name="T76" fmla="*/ 295 w 298"/>
                <a:gd name="T77" fmla="*/ 251 h 298"/>
                <a:gd name="T78" fmla="*/ 297 w 298"/>
                <a:gd name="T79" fmla="*/ 257 h 298"/>
                <a:gd name="T80" fmla="*/ 298 w 298"/>
                <a:gd name="T81" fmla="*/ 264 h 298"/>
                <a:gd name="T82" fmla="*/ 298 w 298"/>
                <a:gd name="T83" fmla="*/ 264 h 298"/>
                <a:gd name="T84" fmla="*/ 297 w 298"/>
                <a:gd name="T85" fmla="*/ 271 h 298"/>
                <a:gd name="T86" fmla="*/ 295 w 298"/>
                <a:gd name="T87" fmla="*/ 277 h 298"/>
                <a:gd name="T88" fmla="*/ 292 w 298"/>
                <a:gd name="T89" fmla="*/ 282 h 298"/>
                <a:gd name="T90" fmla="*/ 289 w 298"/>
                <a:gd name="T91" fmla="*/ 287 h 298"/>
                <a:gd name="T92" fmla="*/ 284 w 298"/>
                <a:gd name="T93" fmla="*/ 291 h 298"/>
                <a:gd name="T94" fmla="*/ 277 w 298"/>
                <a:gd name="T95" fmla="*/ 294 h 298"/>
                <a:gd name="T96" fmla="*/ 271 w 298"/>
                <a:gd name="T97" fmla="*/ 296 h 298"/>
                <a:gd name="T98" fmla="*/ 265 w 298"/>
                <a:gd name="T99" fmla="*/ 298 h 298"/>
                <a:gd name="T100" fmla="*/ 265 w 298"/>
                <a:gd name="T101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8" h="298">
                  <a:moveTo>
                    <a:pt x="265" y="298"/>
                  </a:moveTo>
                  <a:lnTo>
                    <a:pt x="33" y="298"/>
                  </a:lnTo>
                  <a:lnTo>
                    <a:pt x="33" y="298"/>
                  </a:lnTo>
                  <a:lnTo>
                    <a:pt x="27" y="296"/>
                  </a:lnTo>
                  <a:lnTo>
                    <a:pt x="21" y="294"/>
                  </a:lnTo>
                  <a:lnTo>
                    <a:pt x="15" y="291"/>
                  </a:lnTo>
                  <a:lnTo>
                    <a:pt x="10" y="287"/>
                  </a:lnTo>
                  <a:lnTo>
                    <a:pt x="6" y="282"/>
                  </a:lnTo>
                  <a:lnTo>
                    <a:pt x="3" y="277"/>
                  </a:lnTo>
                  <a:lnTo>
                    <a:pt x="1" y="271"/>
                  </a:lnTo>
                  <a:lnTo>
                    <a:pt x="0" y="26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5" y="6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7" y="9"/>
                  </a:lnTo>
                  <a:lnTo>
                    <a:pt x="61" y="14"/>
                  </a:lnTo>
                  <a:lnTo>
                    <a:pt x="64" y="20"/>
                  </a:lnTo>
                  <a:lnTo>
                    <a:pt x="66" y="26"/>
                  </a:lnTo>
                  <a:lnTo>
                    <a:pt x="66" y="33"/>
                  </a:lnTo>
                  <a:lnTo>
                    <a:pt x="66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71" y="231"/>
                  </a:lnTo>
                  <a:lnTo>
                    <a:pt x="277" y="233"/>
                  </a:lnTo>
                  <a:lnTo>
                    <a:pt x="284" y="236"/>
                  </a:lnTo>
                  <a:lnTo>
                    <a:pt x="289" y="241"/>
                  </a:lnTo>
                  <a:lnTo>
                    <a:pt x="292" y="246"/>
                  </a:lnTo>
                  <a:lnTo>
                    <a:pt x="295" y="251"/>
                  </a:lnTo>
                  <a:lnTo>
                    <a:pt x="297" y="257"/>
                  </a:lnTo>
                  <a:lnTo>
                    <a:pt x="298" y="264"/>
                  </a:lnTo>
                  <a:lnTo>
                    <a:pt x="298" y="264"/>
                  </a:lnTo>
                  <a:lnTo>
                    <a:pt x="297" y="271"/>
                  </a:lnTo>
                  <a:lnTo>
                    <a:pt x="295" y="277"/>
                  </a:lnTo>
                  <a:lnTo>
                    <a:pt x="292" y="282"/>
                  </a:lnTo>
                  <a:lnTo>
                    <a:pt x="289" y="287"/>
                  </a:lnTo>
                  <a:lnTo>
                    <a:pt x="284" y="291"/>
                  </a:lnTo>
                  <a:lnTo>
                    <a:pt x="277" y="294"/>
                  </a:lnTo>
                  <a:lnTo>
                    <a:pt x="271" y="296"/>
                  </a:lnTo>
                  <a:lnTo>
                    <a:pt x="265" y="298"/>
                  </a:lnTo>
                  <a:lnTo>
                    <a:pt x="265" y="29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36BE3F64-504A-497D-934C-408714C0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938" y="2641600"/>
              <a:ext cx="38100" cy="38100"/>
            </a:xfrm>
            <a:custGeom>
              <a:avLst/>
              <a:gdLst>
                <a:gd name="T0" fmla="*/ 133 w 166"/>
                <a:gd name="T1" fmla="*/ 166 h 166"/>
                <a:gd name="T2" fmla="*/ 33 w 166"/>
                <a:gd name="T3" fmla="*/ 166 h 166"/>
                <a:gd name="T4" fmla="*/ 33 w 166"/>
                <a:gd name="T5" fmla="*/ 166 h 166"/>
                <a:gd name="T6" fmla="*/ 26 w 166"/>
                <a:gd name="T7" fmla="*/ 165 h 166"/>
                <a:gd name="T8" fmla="*/ 20 w 166"/>
                <a:gd name="T9" fmla="*/ 164 h 166"/>
                <a:gd name="T10" fmla="*/ 15 w 166"/>
                <a:gd name="T11" fmla="*/ 160 h 166"/>
                <a:gd name="T12" fmla="*/ 9 w 166"/>
                <a:gd name="T13" fmla="*/ 156 h 166"/>
                <a:gd name="T14" fmla="*/ 5 w 166"/>
                <a:gd name="T15" fmla="*/ 151 h 166"/>
                <a:gd name="T16" fmla="*/ 2 w 166"/>
                <a:gd name="T17" fmla="*/ 146 h 166"/>
                <a:gd name="T18" fmla="*/ 1 w 166"/>
                <a:gd name="T19" fmla="*/ 140 h 166"/>
                <a:gd name="T20" fmla="*/ 0 w 166"/>
                <a:gd name="T21" fmla="*/ 133 h 166"/>
                <a:gd name="T22" fmla="*/ 0 w 166"/>
                <a:gd name="T23" fmla="*/ 33 h 166"/>
                <a:gd name="T24" fmla="*/ 0 w 166"/>
                <a:gd name="T25" fmla="*/ 33 h 166"/>
                <a:gd name="T26" fmla="*/ 1 w 166"/>
                <a:gd name="T27" fmla="*/ 27 h 166"/>
                <a:gd name="T28" fmla="*/ 2 w 166"/>
                <a:gd name="T29" fmla="*/ 21 h 166"/>
                <a:gd name="T30" fmla="*/ 5 w 166"/>
                <a:gd name="T31" fmla="*/ 15 h 166"/>
                <a:gd name="T32" fmla="*/ 9 w 166"/>
                <a:gd name="T33" fmla="*/ 10 h 166"/>
                <a:gd name="T34" fmla="*/ 15 w 166"/>
                <a:gd name="T35" fmla="*/ 6 h 166"/>
                <a:gd name="T36" fmla="*/ 20 w 166"/>
                <a:gd name="T37" fmla="*/ 3 h 166"/>
                <a:gd name="T38" fmla="*/ 26 w 166"/>
                <a:gd name="T39" fmla="*/ 1 h 166"/>
                <a:gd name="T40" fmla="*/ 33 w 166"/>
                <a:gd name="T41" fmla="*/ 0 h 166"/>
                <a:gd name="T42" fmla="*/ 33 w 166"/>
                <a:gd name="T43" fmla="*/ 0 h 166"/>
                <a:gd name="T44" fmla="*/ 39 w 166"/>
                <a:gd name="T45" fmla="*/ 1 h 166"/>
                <a:gd name="T46" fmla="*/ 46 w 166"/>
                <a:gd name="T47" fmla="*/ 3 h 166"/>
                <a:gd name="T48" fmla="*/ 52 w 166"/>
                <a:gd name="T49" fmla="*/ 6 h 166"/>
                <a:gd name="T50" fmla="*/ 56 w 166"/>
                <a:gd name="T51" fmla="*/ 10 h 166"/>
                <a:gd name="T52" fmla="*/ 60 w 166"/>
                <a:gd name="T53" fmla="*/ 15 h 166"/>
                <a:gd name="T54" fmla="*/ 63 w 166"/>
                <a:gd name="T55" fmla="*/ 21 h 166"/>
                <a:gd name="T56" fmla="*/ 65 w 166"/>
                <a:gd name="T57" fmla="*/ 27 h 166"/>
                <a:gd name="T58" fmla="*/ 66 w 166"/>
                <a:gd name="T59" fmla="*/ 33 h 166"/>
                <a:gd name="T60" fmla="*/ 66 w 166"/>
                <a:gd name="T61" fmla="*/ 99 h 166"/>
                <a:gd name="T62" fmla="*/ 133 w 166"/>
                <a:gd name="T63" fmla="*/ 99 h 166"/>
                <a:gd name="T64" fmla="*/ 133 w 166"/>
                <a:gd name="T65" fmla="*/ 99 h 166"/>
                <a:gd name="T66" fmla="*/ 139 w 166"/>
                <a:gd name="T67" fmla="*/ 100 h 166"/>
                <a:gd name="T68" fmla="*/ 145 w 166"/>
                <a:gd name="T69" fmla="*/ 103 h 166"/>
                <a:gd name="T70" fmla="*/ 151 w 166"/>
                <a:gd name="T71" fmla="*/ 106 h 166"/>
                <a:gd name="T72" fmla="*/ 155 w 166"/>
                <a:gd name="T73" fmla="*/ 109 h 166"/>
                <a:gd name="T74" fmla="*/ 159 w 166"/>
                <a:gd name="T75" fmla="*/ 114 h 166"/>
                <a:gd name="T76" fmla="*/ 163 w 166"/>
                <a:gd name="T77" fmla="*/ 120 h 166"/>
                <a:gd name="T78" fmla="*/ 165 w 166"/>
                <a:gd name="T79" fmla="*/ 126 h 166"/>
                <a:gd name="T80" fmla="*/ 166 w 166"/>
                <a:gd name="T81" fmla="*/ 133 h 166"/>
                <a:gd name="T82" fmla="*/ 166 w 166"/>
                <a:gd name="T83" fmla="*/ 133 h 166"/>
                <a:gd name="T84" fmla="*/ 165 w 166"/>
                <a:gd name="T85" fmla="*/ 140 h 166"/>
                <a:gd name="T86" fmla="*/ 163 w 166"/>
                <a:gd name="T87" fmla="*/ 146 h 166"/>
                <a:gd name="T88" fmla="*/ 159 w 166"/>
                <a:gd name="T89" fmla="*/ 151 h 166"/>
                <a:gd name="T90" fmla="*/ 155 w 166"/>
                <a:gd name="T91" fmla="*/ 156 h 166"/>
                <a:gd name="T92" fmla="*/ 151 w 166"/>
                <a:gd name="T93" fmla="*/ 160 h 166"/>
                <a:gd name="T94" fmla="*/ 145 w 166"/>
                <a:gd name="T95" fmla="*/ 164 h 166"/>
                <a:gd name="T96" fmla="*/ 139 w 166"/>
                <a:gd name="T97" fmla="*/ 165 h 166"/>
                <a:gd name="T98" fmla="*/ 133 w 166"/>
                <a:gd name="T99" fmla="*/ 166 h 166"/>
                <a:gd name="T100" fmla="*/ 133 w 166"/>
                <a:gd name="T10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166">
                  <a:moveTo>
                    <a:pt x="133" y="166"/>
                  </a:moveTo>
                  <a:lnTo>
                    <a:pt x="33" y="166"/>
                  </a:lnTo>
                  <a:lnTo>
                    <a:pt x="33" y="166"/>
                  </a:lnTo>
                  <a:lnTo>
                    <a:pt x="26" y="165"/>
                  </a:lnTo>
                  <a:lnTo>
                    <a:pt x="20" y="164"/>
                  </a:lnTo>
                  <a:lnTo>
                    <a:pt x="15" y="160"/>
                  </a:lnTo>
                  <a:lnTo>
                    <a:pt x="9" y="156"/>
                  </a:lnTo>
                  <a:lnTo>
                    <a:pt x="5" y="151"/>
                  </a:lnTo>
                  <a:lnTo>
                    <a:pt x="2" y="146"/>
                  </a:lnTo>
                  <a:lnTo>
                    <a:pt x="1" y="140"/>
                  </a:lnTo>
                  <a:lnTo>
                    <a:pt x="0" y="1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2" y="21"/>
                  </a:lnTo>
                  <a:lnTo>
                    <a:pt x="5" y="15"/>
                  </a:lnTo>
                  <a:lnTo>
                    <a:pt x="9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1"/>
                  </a:lnTo>
                  <a:lnTo>
                    <a:pt x="46" y="3"/>
                  </a:lnTo>
                  <a:lnTo>
                    <a:pt x="52" y="6"/>
                  </a:lnTo>
                  <a:lnTo>
                    <a:pt x="56" y="10"/>
                  </a:lnTo>
                  <a:lnTo>
                    <a:pt x="60" y="15"/>
                  </a:lnTo>
                  <a:lnTo>
                    <a:pt x="63" y="21"/>
                  </a:lnTo>
                  <a:lnTo>
                    <a:pt x="65" y="27"/>
                  </a:lnTo>
                  <a:lnTo>
                    <a:pt x="66" y="33"/>
                  </a:lnTo>
                  <a:lnTo>
                    <a:pt x="66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9" y="100"/>
                  </a:lnTo>
                  <a:lnTo>
                    <a:pt x="145" y="103"/>
                  </a:lnTo>
                  <a:lnTo>
                    <a:pt x="151" y="106"/>
                  </a:lnTo>
                  <a:lnTo>
                    <a:pt x="155" y="109"/>
                  </a:lnTo>
                  <a:lnTo>
                    <a:pt x="159" y="114"/>
                  </a:lnTo>
                  <a:lnTo>
                    <a:pt x="163" y="120"/>
                  </a:lnTo>
                  <a:lnTo>
                    <a:pt x="165" y="126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5" y="140"/>
                  </a:lnTo>
                  <a:lnTo>
                    <a:pt x="163" y="146"/>
                  </a:lnTo>
                  <a:lnTo>
                    <a:pt x="159" y="151"/>
                  </a:lnTo>
                  <a:lnTo>
                    <a:pt x="155" y="156"/>
                  </a:lnTo>
                  <a:lnTo>
                    <a:pt x="151" y="160"/>
                  </a:lnTo>
                  <a:lnTo>
                    <a:pt x="145" y="164"/>
                  </a:lnTo>
                  <a:lnTo>
                    <a:pt x="139" y="165"/>
                  </a:lnTo>
                  <a:lnTo>
                    <a:pt x="133" y="166"/>
                  </a:lnTo>
                  <a:lnTo>
                    <a:pt x="133" y="16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Rounded Rectangle 24">
            <a:extLst>
              <a:ext uri="{FF2B5EF4-FFF2-40B4-BE49-F238E27FC236}">
                <a16:creationId xmlns:a16="http://schemas.microsoft.com/office/drawing/2014/main" id="{0471E226-5285-4AE1-A3EA-AF258A104DB0}"/>
              </a:ext>
            </a:extLst>
          </p:cNvPr>
          <p:cNvSpPr/>
          <p:nvPr/>
        </p:nvSpPr>
        <p:spPr>
          <a:xfrm rot="2700000">
            <a:off x="6300969" y="5228259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9F7FF4A-6451-4D4F-BC9F-1A5513385D60}"/>
              </a:ext>
            </a:extLst>
          </p:cNvPr>
          <p:cNvGrpSpPr/>
          <p:nvPr/>
        </p:nvGrpSpPr>
        <p:grpSpPr>
          <a:xfrm>
            <a:off x="7492461" y="4974238"/>
            <a:ext cx="3620731" cy="1031902"/>
            <a:chOff x="7492461" y="4974238"/>
            <a:chExt cx="3620731" cy="103190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72871F5-784D-4C0E-AD48-5AFA43D91F60}"/>
                </a:ext>
              </a:extLst>
            </p:cNvPr>
            <p:cNvSpPr txBox="1"/>
            <p:nvPr/>
          </p:nvSpPr>
          <p:spPr>
            <a:xfrm>
              <a:off x="7492463" y="4974238"/>
              <a:ext cx="362072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Adjourning – Full-stack Integration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B467ABF-22DE-4356-8DCE-B5101B47A2BF}"/>
                </a:ext>
              </a:extLst>
            </p:cNvPr>
            <p:cNvSpPr/>
            <p:nvPr/>
          </p:nvSpPr>
          <p:spPr>
            <a:xfrm>
              <a:off x="7492461" y="5359809"/>
              <a:ext cx="3097045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RESTful API for use with Mongo DB driver &amp; </a:t>
              </a:r>
              <a:r>
                <a:rPr lang="en-US" sz="1400" err="1">
                  <a:solidFill>
                    <a:schemeClr val="bg1"/>
                  </a:solidFill>
                  <a:latin typeface="+mj-lt"/>
                </a:rPr>
                <a:t>Verdn</a:t>
              </a:r>
              <a:endParaRPr lang="en-US" sz="1400">
                <a:solidFill>
                  <a:schemeClr val="bg1"/>
                </a:solidFill>
                <a:latin typeface="+mj-lt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bg1"/>
                  </a:solidFill>
                  <a:latin typeface="+mj-lt"/>
                </a:rPr>
                <a:t>Integrating our work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DB90937-5E74-4386-A2F0-7339CA5870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92464" y="5274745"/>
              <a:ext cx="3097042" cy="0"/>
            </a:xfrm>
            <a:prstGeom prst="line">
              <a:avLst/>
            </a:prstGeom>
            <a:ln>
              <a:solidFill>
                <a:srgbClr val="3057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E128AE2-A724-4362-A5BC-78883ED3AABB}"/>
              </a:ext>
            </a:extLst>
          </p:cNvPr>
          <p:cNvGrpSpPr/>
          <p:nvPr/>
        </p:nvGrpSpPr>
        <p:grpSpPr>
          <a:xfrm>
            <a:off x="6490439" y="5417729"/>
            <a:ext cx="360363" cy="360362"/>
            <a:chOff x="6994525" y="2528888"/>
            <a:chExt cx="360363" cy="360362"/>
          </a:xfrm>
        </p:grpSpPr>
        <p:sp>
          <p:nvSpPr>
            <p:cNvPr id="62" name="Freeform 54">
              <a:extLst>
                <a:ext uri="{FF2B5EF4-FFF2-40B4-BE49-F238E27FC236}">
                  <a16:creationId xmlns:a16="http://schemas.microsoft.com/office/drawing/2014/main" id="{930215F8-F8C4-4ADB-A918-47641F77F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625" y="2724150"/>
              <a:ext cx="15875" cy="165100"/>
            </a:xfrm>
            <a:custGeom>
              <a:avLst/>
              <a:gdLst>
                <a:gd name="T0" fmla="*/ 33 w 66"/>
                <a:gd name="T1" fmla="*/ 727 h 727"/>
                <a:gd name="T2" fmla="*/ 33 w 66"/>
                <a:gd name="T3" fmla="*/ 727 h 727"/>
                <a:gd name="T4" fmla="*/ 27 w 66"/>
                <a:gd name="T5" fmla="*/ 727 h 727"/>
                <a:gd name="T6" fmla="*/ 21 w 66"/>
                <a:gd name="T7" fmla="*/ 725 h 727"/>
                <a:gd name="T8" fmla="*/ 15 w 66"/>
                <a:gd name="T9" fmla="*/ 721 h 727"/>
                <a:gd name="T10" fmla="*/ 9 w 66"/>
                <a:gd name="T11" fmla="*/ 717 h 727"/>
                <a:gd name="T12" fmla="*/ 6 w 66"/>
                <a:gd name="T13" fmla="*/ 712 h 727"/>
                <a:gd name="T14" fmla="*/ 3 w 66"/>
                <a:gd name="T15" fmla="*/ 707 h 727"/>
                <a:gd name="T16" fmla="*/ 1 w 66"/>
                <a:gd name="T17" fmla="*/ 701 h 727"/>
                <a:gd name="T18" fmla="*/ 0 w 66"/>
                <a:gd name="T19" fmla="*/ 695 h 727"/>
                <a:gd name="T20" fmla="*/ 0 w 66"/>
                <a:gd name="T21" fmla="*/ 33 h 727"/>
                <a:gd name="T22" fmla="*/ 0 w 66"/>
                <a:gd name="T23" fmla="*/ 33 h 727"/>
                <a:gd name="T24" fmla="*/ 1 w 66"/>
                <a:gd name="T25" fmla="*/ 26 h 727"/>
                <a:gd name="T26" fmla="*/ 3 w 66"/>
                <a:gd name="T27" fmla="*/ 20 h 727"/>
                <a:gd name="T28" fmla="*/ 6 w 66"/>
                <a:gd name="T29" fmla="*/ 15 h 727"/>
                <a:gd name="T30" fmla="*/ 9 w 66"/>
                <a:gd name="T31" fmla="*/ 10 h 727"/>
                <a:gd name="T32" fmla="*/ 15 w 66"/>
                <a:gd name="T33" fmla="*/ 5 h 727"/>
                <a:gd name="T34" fmla="*/ 21 w 66"/>
                <a:gd name="T35" fmla="*/ 2 h 727"/>
                <a:gd name="T36" fmla="*/ 27 w 66"/>
                <a:gd name="T37" fmla="*/ 0 h 727"/>
                <a:gd name="T38" fmla="*/ 33 w 66"/>
                <a:gd name="T39" fmla="*/ 0 h 727"/>
                <a:gd name="T40" fmla="*/ 33 w 66"/>
                <a:gd name="T41" fmla="*/ 0 h 727"/>
                <a:gd name="T42" fmla="*/ 39 w 66"/>
                <a:gd name="T43" fmla="*/ 0 h 727"/>
                <a:gd name="T44" fmla="*/ 46 w 66"/>
                <a:gd name="T45" fmla="*/ 2 h 727"/>
                <a:gd name="T46" fmla="*/ 52 w 66"/>
                <a:gd name="T47" fmla="*/ 5 h 727"/>
                <a:gd name="T48" fmla="*/ 57 w 66"/>
                <a:gd name="T49" fmla="*/ 10 h 727"/>
                <a:gd name="T50" fmla="*/ 61 w 66"/>
                <a:gd name="T51" fmla="*/ 15 h 727"/>
                <a:gd name="T52" fmla="*/ 63 w 66"/>
                <a:gd name="T53" fmla="*/ 20 h 727"/>
                <a:gd name="T54" fmla="*/ 65 w 66"/>
                <a:gd name="T55" fmla="*/ 26 h 727"/>
                <a:gd name="T56" fmla="*/ 66 w 66"/>
                <a:gd name="T57" fmla="*/ 33 h 727"/>
                <a:gd name="T58" fmla="*/ 66 w 66"/>
                <a:gd name="T59" fmla="*/ 695 h 727"/>
                <a:gd name="T60" fmla="*/ 66 w 66"/>
                <a:gd name="T61" fmla="*/ 695 h 727"/>
                <a:gd name="T62" fmla="*/ 65 w 66"/>
                <a:gd name="T63" fmla="*/ 701 h 727"/>
                <a:gd name="T64" fmla="*/ 63 w 66"/>
                <a:gd name="T65" fmla="*/ 707 h 727"/>
                <a:gd name="T66" fmla="*/ 61 w 66"/>
                <a:gd name="T67" fmla="*/ 712 h 727"/>
                <a:gd name="T68" fmla="*/ 57 w 66"/>
                <a:gd name="T69" fmla="*/ 717 h 727"/>
                <a:gd name="T70" fmla="*/ 52 w 66"/>
                <a:gd name="T71" fmla="*/ 721 h 727"/>
                <a:gd name="T72" fmla="*/ 46 w 66"/>
                <a:gd name="T73" fmla="*/ 725 h 727"/>
                <a:gd name="T74" fmla="*/ 39 w 66"/>
                <a:gd name="T75" fmla="*/ 727 h 727"/>
                <a:gd name="T76" fmla="*/ 33 w 66"/>
                <a:gd name="T77" fmla="*/ 727 h 727"/>
                <a:gd name="T78" fmla="*/ 33 w 66"/>
                <a:gd name="T79" fmla="*/ 727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27">
                  <a:moveTo>
                    <a:pt x="33" y="727"/>
                  </a:moveTo>
                  <a:lnTo>
                    <a:pt x="33" y="727"/>
                  </a:lnTo>
                  <a:lnTo>
                    <a:pt x="27" y="727"/>
                  </a:lnTo>
                  <a:lnTo>
                    <a:pt x="21" y="725"/>
                  </a:lnTo>
                  <a:lnTo>
                    <a:pt x="15" y="721"/>
                  </a:lnTo>
                  <a:lnTo>
                    <a:pt x="9" y="717"/>
                  </a:lnTo>
                  <a:lnTo>
                    <a:pt x="6" y="712"/>
                  </a:lnTo>
                  <a:lnTo>
                    <a:pt x="3" y="707"/>
                  </a:lnTo>
                  <a:lnTo>
                    <a:pt x="1" y="701"/>
                  </a:lnTo>
                  <a:lnTo>
                    <a:pt x="0" y="69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5"/>
                  </a:lnTo>
                  <a:lnTo>
                    <a:pt x="9" y="10"/>
                  </a:lnTo>
                  <a:lnTo>
                    <a:pt x="15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7" y="10"/>
                  </a:lnTo>
                  <a:lnTo>
                    <a:pt x="61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695"/>
                  </a:lnTo>
                  <a:lnTo>
                    <a:pt x="66" y="695"/>
                  </a:lnTo>
                  <a:lnTo>
                    <a:pt x="65" y="701"/>
                  </a:lnTo>
                  <a:lnTo>
                    <a:pt x="63" y="707"/>
                  </a:lnTo>
                  <a:lnTo>
                    <a:pt x="61" y="712"/>
                  </a:lnTo>
                  <a:lnTo>
                    <a:pt x="57" y="717"/>
                  </a:lnTo>
                  <a:lnTo>
                    <a:pt x="52" y="721"/>
                  </a:lnTo>
                  <a:lnTo>
                    <a:pt x="46" y="725"/>
                  </a:lnTo>
                  <a:lnTo>
                    <a:pt x="39" y="727"/>
                  </a:lnTo>
                  <a:lnTo>
                    <a:pt x="33" y="727"/>
                  </a:lnTo>
                  <a:lnTo>
                    <a:pt x="33" y="727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5">
              <a:extLst>
                <a:ext uri="{FF2B5EF4-FFF2-40B4-BE49-F238E27FC236}">
                  <a16:creationId xmlns:a16="http://schemas.microsoft.com/office/drawing/2014/main" id="{2C45F6C7-9878-4A3F-8F1C-E85375E86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25" y="2528888"/>
              <a:ext cx="360363" cy="211138"/>
            </a:xfrm>
            <a:custGeom>
              <a:avLst/>
              <a:gdLst>
                <a:gd name="T0" fmla="*/ 1199 w 1587"/>
                <a:gd name="T1" fmla="*/ 912 h 927"/>
                <a:gd name="T2" fmla="*/ 1094 w 1587"/>
                <a:gd name="T3" fmla="*/ 853 h 927"/>
                <a:gd name="T4" fmla="*/ 1000 w 1587"/>
                <a:gd name="T5" fmla="*/ 876 h 927"/>
                <a:gd name="T6" fmla="*/ 756 w 1587"/>
                <a:gd name="T7" fmla="*/ 923 h 927"/>
                <a:gd name="T8" fmla="*/ 579 w 1587"/>
                <a:gd name="T9" fmla="*/ 874 h 927"/>
                <a:gd name="T10" fmla="*/ 417 w 1587"/>
                <a:gd name="T11" fmla="*/ 922 h 927"/>
                <a:gd name="T12" fmla="*/ 273 w 1587"/>
                <a:gd name="T13" fmla="*/ 914 h 927"/>
                <a:gd name="T14" fmla="*/ 146 w 1587"/>
                <a:gd name="T15" fmla="*/ 854 h 927"/>
                <a:gd name="T16" fmla="*/ 52 w 1587"/>
                <a:gd name="T17" fmla="*/ 751 h 927"/>
                <a:gd name="T18" fmla="*/ 4 w 1587"/>
                <a:gd name="T19" fmla="*/ 618 h 927"/>
                <a:gd name="T20" fmla="*/ 9 w 1587"/>
                <a:gd name="T21" fmla="*/ 484 h 927"/>
                <a:gd name="T22" fmla="*/ 72 w 1587"/>
                <a:gd name="T23" fmla="*/ 346 h 927"/>
                <a:gd name="T24" fmla="*/ 184 w 1587"/>
                <a:gd name="T25" fmla="*/ 246 h 927"/>
                <a:gd name="T26" fmla="*/ 330 w 1587"/>
                <a:gd name="T27" fmla="*/ 200 h 927"/>
                <a:gd name="T28" fmla="*/ 466 w 1587"/>
                <a:gd name="T29" fmla="*/ 137 h 927"/>
                <a:gd name="T30" fmla="*/ 654 w 1587"/>
                <a:gd name="T31" fmla="*/ 22 h 927"/>
                <a:gd name="T32" fmla="*/ 832 w 1587"/>
                <a:gd name="T33" fmla="*/ 3 h 927"/>
                <a:gd name="T34" fmla="*/ 976 w 1587"/>
                <a:gd name="T35" fmla="*/ 39 h 927"/>
                <a:gd name="T36" fmla="*/ 1101 w 1587"/>
                <a:gd name="T37" fmla="*/ 118 h 927"/>
                <a:gd name="T38" fmla="*/ 1194 w 1587"/>
                <a:gd name="T39" fmla="*/ 232 h 927"/>
                <a:gd name="T40" fmla="*/ 1263 w 1587"/>
                <a:gd name="T41" fmla="*/ 333 h 927"/>
                <a:gd name="T42" fmla="*/ 1378 w 1587"/>
                <a:gd name="T43" fmla="*/ 345 h 927"/>
                <a:gd name="T44" fmla="*/ 1478 w 1587"/>
                <a:gd name="T45" fmla="*/ 399 h 927"/>
                <a:gd name="T46" fmla="*/ 1551 w 1587"/>
                <a:gd name="T47" fmla="*/ 487 h 927"/>
                <a:gd name="T48" fmla="*/ 1585 w 1587"/>
                <a:gd name="T49" fmla="*/ 599 h 927"/>
                <a:gd name="T50" fmla="*/ 1578 w 1587"/>
                <a:gd name="T51" fmla="*/ 703 h 927"/>
                <a:gd name="T52" fmla="*/ 1527 w 1587"/>
                <a:gd name="T53" fmla="*/ 806 h 927"/>
                <a:gd name="T54" fmla="*/ 1443 w 1587"/>
                <a:gd name="T55" fmla="*/ 883 h 927"/>
                <a:gd name="T56" fmla="*/ 1335 w 1587"/>
                <a:gd name="T57" fmla="*/ 922 h 927"/>
                <a:gd name="T58" fmla="*/ 1080 w 1587"/>
                <a:gd name="T59" fmla="*/ 753 h 927"/>
                <a:gd name="T60" fmla="*/ 1131 w 1587"/>
                <a:gd name="T61" fmla="*/ 797 h 927"/>
                <a:gd name="T62" fmla="*/ 1222 w 1587"/>
                <a:gd name="T63" fmla="*/ 850 h 927"/>
                <a:gd name="T64" fmla="*/ 1336 w 1587"/>
                <a:gd name="T65" fmla="*/ 855 h 927"/>
                <a:gd name="T66" fmla="*/ 1480 w 1587"/>
                <a:gd name="T67" fmla="*/ 758 h 927"/>
                <a:gd name="T68" fmla="*/ 1520 w 1587"/>
                <a:gd name="T69" fmla="*/ 605 h 927"/>
                <a:gd name="T70" fmla="*/ 1436 w 1587"/>
                <a:gd name="T71" fmla="*/ 451 h 927"/>
                <a:gd name="T72" fmla="*/ 1289 w 1587"/>
                <a:gd name="T73" fmla="*/ 397 h 927"/>
                <a:gd name="T74" fmla="*/ 1203 w 1587"/>
                <a:gd name="T75" fmla="*/ 406 h 927"/>
                <a:gd name="T76" fmla="*/ 1177 w 1587"/>
                <a:gd name="T77" fmla="*/ 365 h 927"/>
                <a:gd name="T78" fmla="*/ 1122 w 1587"/>
                <a:gd name="T79" fmla="*/ 242 h 927"/>
                <a:gd name="T80" fmla="*/ 1030 w 1587"/>
                <a:gd name="T81" fmla="*/ 145 h 927"/>
                <a:gd name="T82" fmla="*/ 911 w 1587"/>
                <a:gd name="T83" fmla="*/ 85 h 927"/>
                <a:gd name="T84" fmla="*/ 793 w 1587"/>
                <a:gd name="T85" fmla="*/ 67 h 927"/>
                <a:gd name="T86" fmla="*/ 600 w 1587"/>
                <a:gd name="T87" fmla="*/ 116 h 927"/>
                <a:gd name="T88" fmla="*/ 456 w 1587"/>
                <a:gd name="T89" fmla="*/ 256 h 927"/>
                <a:gd name="T90" fmla="*/ 426 w 1587"/>
                <a:gd name="T91" fmla="*/ 272 h 927"/>
                <a:gd name="T92" fmla="*/ 317 w 1587"/>
                <a:gd name="T93" fmla="*/ 268 h 927"/>
                <a:gd name="T94" fmla="*/ 197 w 1587"/>
                <a:gd name="T95" fmla="*/ 315 h 927"/>
                <a:gd name="T96" fmla="*/ 110 w 1587"/>
                <a:gd name="T97" fmla="*/ 406 h 927"/>
                <a:gd name="T98" fmla="*/ 68 w 1587"/>
                <a:gd name="T99" fmla="*/ 529 h 927"/>
                <a:gd name="T100" fmla="*/ 75 w 1587"/>
                <a:gd name="T101" fmla="*/ 637 h 927"/>
                <a:gd name="T102" fmla="*/ 125 w 1587"/>
                <a:gd name="T103" fmla="*/ 740 h 927"/>
                <a:gd name="T104" fmla="*/ 210 w 1587"/>
                <a:gd name="T105" fmla="*/ 817 h 927"/>
                <a:gd name="T106" fmla="*/ 318 w 1587"/>
                <a:gd name="T107" fmla="*/ 856 h 927"/>
                <a:gd name="T108" fmla="*/ 458 w 1587"/>
                <a:gd name="T109" fmla="*/ 845 h 927"/>
                <a:gd name="T110" fmla="*/ 556 w 1587"/>
                <a:gd name="T111" fmla="*/ 793 h 927"/>
                <a:gd name="T112" fmla="*/ 608 w 1587"/>
                <a:gd name="T113" fmla="*/ 814 h 927"/>
                <a:gd name="T114" fmla="*/ 729 w 1587"/>
                <a:gd name="T115" fmla="*/ 853 h 927"/>
                <a:gd name="T116" fmla="*/ 946 w 1587"/>
                <a:gd name="T117" fmla="*/ 828 h 927"/>
                <a:gd name="T118" fmla="*/ 1055 w 1587"/>
                <a:gd name="T119" fmla="*/ 761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87" h="927">
                  <a:moveTo>
                    <a:pt x="1289" y="927"/>
                  </a:moveTo>
                  <a:lnTo>
                    <a:pt x="1289" y="927"/>
                  </a:lnTo>
                  <a:lnTo>
                    <a:pt x="1273" y="925"/>
                  </a:lnTo>
                  <a:lnTo>
                    <a:pt x="1258" y="924"/>
                  </a:lnTo>
                  <a:lnTo>
                    <a:pt x="1243" y="922"/>
                  </a:lnTo>
                  <a:lnTo>
                    <a:pt x="1228" y="920"/>
                  </a:lnTo>
                  <a:lnTo>
                    <a:pt x="1213" y="916"/>
                  </a:lnTo>
                  <a:lnTo>
                    <a:pt x="1199" y="912"/>
                  </a:lnTo>
                  <a:lnTo>
                    <a:pt x="1184" y="907"/>
                  </a:lnTo>
                  <a:lnTo>
                    <a:pt x="1170" y="902"/>
                  </a:lnTo>
                  <a:lnTo>
                    <a:pt x="1157" y="895"/>
                  </a:lnTo>
                  <a:lnTo>
                    <a:pt x="1143" y="888"/>
                  </a:lnTo>
                  <a:lnTo>
                    <a:pt x="1131" y="881"/>
                  </a:lnTo>
                  <a:lnTo>
                    <a:pt x="1118" y="872"/>
                  </a:lnTo>
                  <a:lnTo>
                    <a:pt x="1106" y="863"/>
                  </a:lnTo>
                  <a:lnTo>
                    <a:pt x="1094" y="853"/>
                  </a:lnTo>
                  <a:lnTo>
                    <a:pt x="1083" y="843"/>
                  </a:lnTo>
                  <a:lnTo>
                    <a:pt x="1073" y="832"/>
                  </a:lnTo>
                  <a:lnTo>
                    <a:pt x="1073" y="832"/>
                  </a:lnTo>
                  <a:lnTo>
                    <a:pt x="1058" y="842"/>
                  </a:lnTo>
                  <a:lnTo>
                    <a:pt x="1045" y="851"/>
                  </a:lnTo>
                  <a:lnTo>
                    <a:pt x="1030" y="860"/>
                  </a:lnTo>
                  <a:lnTo>
                    <a:pt x="1016" y="869"/>
                  </a:lnTo>
                  <a:lnTo>
                    <a:pt x="1000" y="876"/>
                  </a:lnTo>
                  <a:lnTo>
                    <a:pt x="986" y="883"/>
                  </a:lnTo>
                  <a:lnTo>
                    <a:pt x="955" y="895"/>
                  </a:lnTo>
                  <a:lnTo>
                    <a:pt x="923" y="906"/>
                  </a:lnTo>
                  <a:lnTo>
                    <a:pt x="890" y="914"/>
                  </a:lnTo>
                  <a:lnTo>
                    <a:pt x="856" y="920"/>
                  </a:lnTo>
                  <a:lnTo>
                    <a:pt x="823" y="923"/>
                  </a:lnTo>
                  <a:lnTo>
                    <a:pt x="790" y="924"/>
                  </a:lnTo>
                  <a:lnTo>
                    <a:pt x="756" y="923"/>
                  </a:lnTo>
                  <a:lnTo>
                    <a:pt x="723" y="919"/>
                  </a:lnTo>
                  <a:lnTo>
                    <a:pt x="690" y="913"/>
                  </a:lnTo>
                  <a:lnTo>
                    <a:pt x="658" y="905"/>
                  </a:lnTo>
                  <a:lnTo>
                    <a:pt x="641" y="900"/>
                  </a:lnTo>
                  <a:lnTo>
                    <a:pt x="626" y="894"/>
                  </a:lnTo>
                  <a:lnTo>
                    <a:pt x="610" y="888"/>
                  </a:lnTo>
                  <a:lnTo>
                    <a:pt x="595" y="881"/>
                  </a:lnTo>
                  <a:lnTo>
                    <a:pt x="579" y="874"/>
                  </a:lnTo>
                  <a:lnTo>
                    <a:pt x="565" y="865"/>
                  </a:lnTo>
                  <a:lnTo>
                    <a:pt x="565" y="865"/>
                  </a:lnTo>
                  <a:lnTo>
                    <a:pt x="542" y="879"/>
                  </a:lnTo>
                  <a:lnTo>
                    <a:pt x="518" y="891"/>
                  </a:lnTo>
                  <a:lnTo>
                    <a:pt x="493" y="902"/>
                  </a:lnTo>
                  <a:lnTo>
                    <a:pt x="468" y="911"/>
                  </a:lnTo>
                  <a:lnTo>
                    <a:pt x="442" y="917"/>
                  </a:lnTo>
                  <a:lnTo>
                    <a:pt x="417" y="922"/>
                  </a:lnTo>
                  <a:lnTo>
                    <a:pt x="391" y="925"/>
                  </a:lnTo>
                  <a:lnTo>
                    <a:pt x="364" y="927"/>
                  </a:lnTo>
                  <a:lnTo>
                    <a:pt x="364" y="927"/>
                  </a:lnTo>
                  <a:lnTo>
                    <a:pt x="345" y="925"/>
                  </a:lnTo>
                  <a:lnTo>
                    <a:pt x="327" y="924"/>
                  </a:lnTo>
                  <a:lnTo>
                    <a:pt x="308" y="922"/>
                  </a:lnTo>
                  <a:lnTo>
                    <a:pt x="290" y="918"/>
                  </a:lnTo>
                  <a:lnTo>
                    <a:pt x="273" y="914"/>
                  </a:lnTo>
                  <a:lnTo>
                    <a:pt x="255" y="910"/>
                  </a:lnTo>
                  <a:lnTo>
                    <a:pt x="239" y="904"/>
                  </a:lnTo>
                  <a:lnTo>
                    <a:pt x="222" y="898"/>
                  </a:lnTo>
                  <a:lnTo>
                    <a:pt x="205" y="890"/>
                  </a:lnTo>
                  <a:lnTo>
                    <a:pt x="190" y="882"/>
                  </a:lnTo>
                  <a:lnTo>
                    <a:pt x="175" y="874"/>
                  </a:lnTo>
                  <a:lnTo>
                    <a:pt x="160" y="863"/>
                  </a:lnTo>
                  <a:lnTo>
                    <a:pt x="146" y="854"/>
                  </a:lnTo>
                  <a:lnTo>
                    <a:pt x="132" y="843"/>
                  </a:lnTo>
                  <a:lnTo>
                    <a:pt x="120" y="831"/>
                  </a:lnTo>
                  <a:lnTo>
                    <a:pt x="106" y="820"/>
                  </a:lnTo>
                  <a:lnTo>
                    <a:pt x="95" y="806"/>
                  </a:lnTo>
                  <a:lnTo>
                    <a:pt x="83" y="794"/>
                  </a:lnTo>
                  <a:lnTo>
                    <a:pt x="72" y="780"/>
                  </a:lnTo>
                  <a:lnTo>
                    <a:pt x="62" y="766"/>
                  </a:lnTo>
                  <a:lnTo>
                    <a:pt x="52" y="751"/>
                  </a:lnTo>
                  <a:lnTo>
                    <a:pt x="44" y="736"/>
                  </a:lnTo>
                  <a:lnTo>
                    <a:pt x="36" y="720"/>
                  </a:lnTo>
                  <a:lnTo>
                    <a:pt x="29" y="704"/>
                  </a:lnTo>
                  <a:lnTo>
                    <a:pt x="22" y="687"/>
                  </a:lnTo>
                  <a:lnTo>
                    <a:pt x="16" y="671"/>
                  </a:lnTo>
                  <a:lnTo>
                    <a:pt x="11" y="653"/>
                  </a:lnTo>
                  <a:lnTo>
                    <a:pt x="7" y="636"/>
                  </a:lnTo>
                  <a:lnTo>
                    <a:pt x="4" y="618"/>
                  </a:lnTo>
                  <a:lnTo>
                    <a:pt x="2" y="600"/>
                  </a:lnTo>
                  <a:lnTo>
                    <a:pt x="1" y="581"/>
                  </a:lnTo>
                  <a:lnTo>
                    <a:pt x="0" y="562"/>
                  </a:lnTo>
                  <a:lnTo>
                    <a:pt x="0" y="562"/>
                  </a:lnTo>
                  <a:lnTo>
                    <a:pt x="1" y="543"/>
                  </a:lnTo>
                  <a:lnTo>
                    <a:pt x="2" y="523"/>
                  </a:lnTo>
                  <a:lnTo>
                    <a:pt x="5" y="503"/>
                  </a:lnTo>
                  <a:lnTo>
                    <a:pt x="9" y="484"/>
                  </a:lnTo>
                  <a:lnTo>
                    <a:pt x="13" y="465"/>
                  </a:lnTo>
                  <a:lnTo>
                    <a:pt x="19" y="446"/>
                  </a:lnTo>
                  <a:lnTo>
                    <a:pt x="25" y="429"/>
                  </a:lnTo>
                  <a:lnTo>
                    <a:pt x="33" y="411"/>
                  </a:lnTo>
                  <a:lnTo>
                    <a:pt x="41" y="394"/>
                  </a:lnTo>
                  <a:lnTo>
                    <a:pt x="50" y="377"/>
                  </a:lnTo>
                  <a:lnTo>
                    <a:pt x="61" y="361"/>
                  </a:lnTo>
                  <a:lnTo>
                    <a:pt x="72" y="346"/>
                  </a:lnTo>
                  <a:lnTo>
                    <a:pt x="83" y="331"/>
                  </a:lnTo>
                  <a:lnTo>
                    <a:pt x="96" y="316"/>
                  </a:lnTo>
                  <a:lnTo>
                    <a:pt x="108" y="303"/>
                  </a:lnTo>
                  <a:lnTo>
                    <a:pt x="123" y="290"/>
                  </a:lnTo>
                  <a:lnTo>
                    <a:pt x="137" y="278"/>
                  </a:lnTo>
                  <a:lnTo>
                    <a:pt x="152" y="266"/>
                  </a:lnTo>
                  <a:lnTo>
                    <a:pt x="167" y="256"/>
                  </a:lnTo>
                  <a:lnTo>
                    <a:pt x="184" y="246"/>
                  </a:lnTo>
                  <a:lnTo>
                    <a:pt x="200" y="237"/>
                  </a:lnTo>
                  <a:lnTo>
                    <a:pt x="218" y="229"/>
                  </a:lnTo>
                  <a:lnTo>
                    <a:pt x="235" y="222"/>
                  </a:lnTo>
                  <a:lnTo>
                    <a:pt x="253" y="216"/>
                  </a:lnTo>
                  <a:lnTo>
                    <a:pt x="272" y="210"/>
                  </a:lnTo>
                  <a:lnTo>
                    <a:pt x="291" y="205"/>
                  </a:lnTo>
                  <a:lnTo>
                    <a:pt x="310" y="202"/>
                  </a:lnTo>
                  <a:lnTo>
                    <a:pt x="330" y="200"/>
                  </a:lnTo>
                  <a:lnTo>
                    <a:pt x="350" y="199"/>
                  </a:lnTo>
                  <a:lnTo>
                    <a:pt x="370" y="199"/>
                  </a:lnTo>
                  <a:lnTo>
                    <a:pt x="391" y="200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29" y="179"/>
                  </a:lnTo>
                  <a:lnTo>
                    <a:pt x="447" y="157"/>
                  </a:lnTo>
                  <a:lnTo>
                    <a:pt x="466" y="137"/>
                  </a:lnTo>
                  <a:lnTo>
                    <a:pt x="486" y="117"/>
                  </a:lnTo>
                  <a:lnTo>
                    <a:pt x="508" y="100"/>
                  </a:lnTo>
                  <a:lnTo>
                    <a:pt x="529" y="83"/>
                  </a:lnTo>
                  <a:lnTo>
                    <a:pt x="553" y="68"/>
                  </a:lnTo>
                  <a:lnTo>
                    <a:pt x="577" y="54"/>
                  </a:lnTo>
                  <a:lnTo>
                    <a:pt x="602" y="42"/>
                  </a:lnTo>
                  <a:lnTo>
                    <a:pt x="628" y="30"/>
                  </a:lnTo>
                  <a:lnTo>
                    <a:pt x="654" y="22"/>
                  </a:lnTo>
                  <a:lnTo>
                    <a:pt x="680" y="14"/>
                  </a:lnTo>
                  <a:lnTo>
                    <a:pt x="708" y="9"/>
                  </a:lnTo>
                  <a:lnTo>
                    <a:pt x="736" y="4"/>
                  </a:lnTo>
                  <a:lnTo>
                    <a:pt x="764" y="1"/>
                  </a:lnTo>
                  <a:lnTo>
                    <a:pt x="793" y="0"/>
                  </a:lnTo>
                  <a:lnTo>
                    <a:pt x="793" y="0"/>
                  </a:lnTo>
                  <a:lnTo>
                    <a:pt x="813" y="1"/>
                  </a:lnTo>
                  <a:lnTo>
                    <a:pt x="832" y="3"/>
                  </a:lnTo>
                  <a:lnTo>
                    <a:pt x="850" y="5"/>
                  </a:lnTo>
                  <a:lnTo>
                    <a:pt x="870" y="7"/>
                  </a:lnTo>
                  <a:lnTo>
                    <a:pt x="887" y="11"/>
                  </a:lnTo>
                  <a:lnTo>
                    <a:pt x="906" y="15"/>
                  </a:lnTo>
                  <a:lnTo>
                    <a:pt x="925" y="20"/>
                  </a:lnTo>
                  <a:lnTo>
                    <a:pt x="942" y="25"/>
                  </a:lnTo>
                  <a:lnTo>
                    <a:pt x="960" y="31"/>
                  </a:lnTo>
                  <a:lnTo>
                    <a:pt x="976" y="39"/>
                  </a:lnTo>
                  <a:lnTo>
                    <a:pt x="993" y="47"/>
                  </a:lnTo>
                  <a:lnTo>
                    <a:pt x="1010" y="55"/>
                  </a:lnTo>
                  <a:lnTo>
                    <a:pt x="1026" y="64"/>
                  </a:lnTo>
                  <a:lnTo>
                    <a:pt x="1042" y="74"/>
                  </a:lnTo>
                  <a:lnTo>
                    <a:pt x="1057" y="84"/>
                  </a:lnTo>
                  <a:lnTo>
                    <a:pt x="1072" y="95"/>
                  </a:lnTo>
                  <a:lnTo>
                    <a:pt x="1086" y="106"/>
                  </a:lnTo>
                  <a:lnTo>
                    <a:pt x="1101" y="118"/>
                  </a:lnTo>
                  <a:lnTo>
                    <a:pt x="1114" y="131"/>
                  </a:lnTo>
                  <a:lnTo>
                    <a:pt x="1128" y="143"/>
                  </a:lnTo>
                  <a:lnTo>
                    <a:pt x="1140" y="157"/>
                  </a:lnTo>
                  <a:lnTo>
                    <a:pt x="1151" y="171"/>
                  </a:lnTo>
                  <a:lnTo>
                    <a:pt x="1163" y="186"/>
                  </a:lnTo>
                  <a:lnTo>
                    <a:pt x="1174" y="200"/>
                  </a:lnTo>
                  <a:lnTo>
                    <a:pt x="1184" y="216"/>
                  </a:lnTo>
                  <a:lnTo>
                    <a:pt x="1194" y="232"/>
                  </a:lnTo>
                  <a:lnTo>
                    <a:pt x="1203" y="248"/>
                  </a:lnTo>
                  <a:lnTo>
                    <a:pt x="1211" y="265"/>
                  </a:lnTo>
                  <a:lnTo>
                    <a:pt x="1219" y="282"/>
                  </a:lnTo>
                  <a:lnTo>
                    <a:pt x="1226" y="299"/>
                  </a:lnTo>
                  <a:lnTo>
                    <a:pt x="1232" y="317"/>
                  </a:lnTo>
                  <a:lnTo>
                    <a:pt x="1238" y="336"/>
                  </a:lnTo>
                  <a:lnTo>
                    <a:pt x="1238" y="336"/>
                  </a:lnTo>
                  <a:lnTo>
                    <a:pt x="1263" y="333"/>
                  </a:lnTo>
                  <a:lnTo>
                    <a:pt x="1289" y="332"/>
                  </a:lnTo>
                  <a:lnTo>
                    <a:pt x="1289" y="332"/>
                  </a:lnTo>
                  <a:lnTo>
                    <a:pt x="1305" y="332"/>
                  </a:lnTo>
                  <a:lnTo>
                    <a:pt x="1319" y="333"/>
                  </a:lnTo>
                  <a:lnTo>
                    <a:pt x="1335" y="335"/>
                  </a:lnTo>
                  <a:lnTo>
                    <a:pt x="1349" y="337"/>
                  </a:lnTo>
                  <a:lnTo>
                    <a:pt x="1363" y="341"/>
                  </a:lnTo>
                  <a:lnTo>
                    <a:pt x="1378" y="345"/>
                  </a:lnTo>
                  <a:lnTo>
                    <a:pt x="1391" y="349"/>
                  </a:lnTo>
                  <a:lnTo>
                    <a:pt x="1405" y="354"/>
                  </a:lnTo>
                  <a:lnTo>
                    <a:pt x="1418" y="361"/>
                  </a:lnTo>
                  <a:lnTo>
                    <a:pt x="1431" y="367"/>
                  </a:lnTo>
                  <a:lnTo>
                    <a:pt x="1443" y="374"/>
                  </a:lnTo>
                  <a:lnTo>
                    <a:pt x="1456" y="382"/>
                  </a:lnTo>
                  <a:lnTo>
                    <a:pt x="1467" y="391"/>
                  </a:lnTo>
                  <a:lnTo>
                    <a:pt x="1478" y="399"/>
                  </a:lnTo>
                  <a:lnTo>
                    <a:pt x="1489" y="408"/>
                  </a:lnTo>
                  <a:lnTo>
                    <a:pt x="1499" y="418"/>
                  </a:lnTo>
                  <a:lnTo>
                    <a:pt x="1509" y="429"/>
                  </a:lnTo>
                  <a:lnTo>
                    <a:pt x="1519" y="439"/>
                  </a:lnTo>
                  <a:lnTo>
                    <a:pt x="1527" y="451"/>
                  </a:lnTo>
                  <a:lnTo>
                    <a:pt x="1535" y="462"/>
                  </a:lnTo>
                  <a:lnTo>
                    <a:pt x="1544" y="474"/>
                  </a:lnTo>
                  <a:lnTo>
                    <a:pt x="1551" y="487"/>
                  </a:lnTo>
                  <a:lnTo>
                    <a:pt x="1557" y="500"/>
                  </a:lnTo>
                  <a:lnTo>
                    <a:pt x="1563" y="513"/>
                  </a:lnTo>
                  <a:lnTo>
                    <a:pt x="1568" y="526"/>
                  </a:lnTo>
                  <a:lnTo>
                    <a:pt x="1574" y="541"/>
                  </a:lnTo>
                  <a:lnTo>
                    <a:pt x="1578" y="554"/>
                  </a:lnTo>
                  <a:lnTo>
                    <a:pt x="1581" y="569"/>
                  </a:lnTo>
                  <a:lnTo>
                    <a:pt x="1583" y="583"/>
                  </a:lnTo>
                  <a:lnTo>
                    <a:pt x="1585" y="599"/>
                  </a:lnTo>
                  <a:lnTo>
                    <a:pt x="1586" y="613"/>
                  </a:lnTo>
                  <a:lnTo>
                    <a:pt x="1587" y="629"/>
                  </a:lnTo>
                  <a:lnTo>
                    <a:pt x="1587" y="629"/>
                  </a:lnTo>
                  <a:lnTo>
                    <a:pt x="1586" y="644"/>
                  </a:lnTo>
                  <a:lnTo>
                    <a:pt x="1585" y="659"/>
                  </a:lnTo>
                  <a:lnTo>
                    <a:pt x="1583" y="674"/>
                  </a:lnTo>
                  <a:lnTo>
                    <a:pt x="1581" y="689"/>
                  </a:lnTo>
                  <a:lnTo>
                    <a:pt x="1578" y="703"/>
                  </a:lnTo>
                  <a:lnTo>
                    <a:pt x="1574" y="716"/>
                  </a:lnTo>
                  <a:lnTo>
                    <a:pt x="1568" y="731"/>
                  </a:lnTo>
                  <a:lnTo>
                    <a:pt x="1563" y="744"/>
                  </a:lnTo>
                  <a:lnTo>
                    <a:pt x="1557" y="758"/>
                  </a:lnTo>
                  <a:lnTo>
                    <a:pt x="1551" y="770"/>
                  </a:lnTo>
                  <a:lnTo>
                    <a:pt x="1544" y="783"/>
                  </a:lnTo>
                  <a:lnTo>
                    <a:pt x="1535" y="795"/>
                  </a:lnTo>
                  <a:lnTo>
                    <a:pt x="1527" y="806"/>
                  </a:lnTo>
                  <a:lnTo>
                    <a:pt x="1519" y="818"/>
                  </a:lnTo>
                  <a:lnTo>
                    <a:pt x="1509" y="828"/>
                  </a:lnTo>
                  <a:lnTo>
                    <a:pt x="1499" y="839"/>
                  </a:lnTo>
                  <a:lnTo>
                    <a:pt x="1489" y="849"/>
                  </a:lnTo>
                  <a:lnTo>
                    <a:pt x="1478" y="858"/>
                  </a:lnTo>
                  <a:lnTo>
                    <a:pt x="1467" y="866"/>
                  </a:lnTo>
                  <a:lnTo>
                    <a:pt x="1456" y="875"/>
                  </a:lnTo>
                  <a:lnTo>
                    <a:pt x="1443" y="883"/>
                  </a:lnTo>
                  <a:lnTo>
                    <a:pt x="1431" y="890"/>
                  </a:lnTo>
                  <a:lnTo>
                    <a:pt x="1418" y="897"/>
                  </a:lnTo>
                  <a:lnTo>
                    <a:pt x="1405" y="903"/>
                  </a:lnTo>
                  <a:lnTo>
                    <a:pt x="1391" y="908"/>
                  </a:lnTo>
                  <a:lnTo>
                    <a:pt x="1378" y="913"/>
                  </a:lnTo>
                  <a:lnTo>
                    <a:pt x="1363" y="917"/>
                  </a:lnTo>
                  <a:lnTo>
                    <a:pt x="1349" y="920"/>
                  </a:lnTo>
                  <a:lnTo>
                    <a:pt x="1335" y="922"/>
                  </a:lnTo>
                  <a:lnTo>
                    <a:pt x="1319" y="924"/>
                  </a:lnTo>
                  <a:lnTo>
                    <a:pt x="1305" y="925"/>
                  </a:lnTo>
                  <a:lnTo>
                    <a:pt x="1289" y="927"/>
                  </a:lnTo>
                  <a:lnTo>
                    <a:pt x="1289" y="927"/>
                  </a:lnTo>
                  <a:close/>
                  <a:moveTo>
                    <a:pt x="1077" y="753"/>
                  </a:moveTo>
                  <a:lnTo>
                    <a:pt x="1077" y="753"/>
                  </a:lnTo>
                  <a:lnTo>
                    <a:pt x="1080" y="753"/>
                  </a:lnTo>
                  <a:lnTo>
                    <a:pt x="1080" y="753"/>
                  </a:lnTo>
                  <a:lnTo>
                    <a:pt x="1087" y="755"/>
                  </a:lnTo>
                  <a:lnTo>
                    <a:pt x="1093" y="757"/>
                  </a:lnTo>
                  <a:lnTo>
                    <a:pt x="1099" y="761"/>
                  </a:lnTo>
                  <a:lnTo>
                    <a:pt x="1104" y="766"/>
                  </a:lnTo>
                  <a:lnTo>
                    <a:pt x="1104" y="766"/>
                  </a:lnTo>
                  <a:lnTo>
                    <a:pt x="1112" y="776"/>
                  </a:lnTo>
                  <a:lnTo>
                    <a:pt x="1121" y="787"/>
                  </a:lnTo>
                  <a:lnTo>
                    <a:pt x="1131" y="797"/>
                  </a:lnTo>
                  <a:lnTo>
                    <a:pt x="1141" y="805"/>
                  </a:lnTo>
                  <a:lnTo>
                    <a:pt x="1151" y="815"/>
                  </a:lnTo>
                  <a:lnTo>
                    <a:pt x="1162" y="822"/>
                  </a:lnTo>
                  <a:lnTo>
                    <a:pt x="1173" y="829"/>
                  </a:lnTo>
                  <a:lnTo>
                    <a:pt x="1185" y="835"/>
                  </a:lnTo>
                  <a:lnTo>
                    <a:pt x="1197" y="841"/>
                  </a:lnTo>
                  <a:lnTo>
                    <a:pt x="1209" y="846"/>
                  </a:lnTo>
                  <a:lnTo>
                    <a:pt x="1222" y="850"/>
                  </a:lnTo>
                  <a:lnTo>
                    <a:pt x="1235" y="854"/>
                  </a:lnTo>
                  <a:lnTo>
                    <a:pt x="1249" y="856"/>
                  </a:lnTo>
                  <a:lnTo>
                    <a:pt x="1262" y="858"/>
                  </a:lnTo>
                  <a:lnTo>
                    <a:pt x="1276" y="859"/>
                  </a:lnTo>
                  <a:lnTo>
                    <a:pt x="1289" y="860"/>
                  </a:lnTo>
                  <a:lnTo>
                    <a:pt x="1289" y="860"/>
                  </a:lnTo>
                  <a:lnTo>
                    <a:pt x="1313" y="859"/>
                  </a:lnTo>
                  <a:lnTo>
                    <a:pt x="1336" y="855"/>
                  </a:lnTo>
                  <a:lnTo>
                    <a:pt x="1358" y="850"/>
                  </a:lnTo>
                  <a:lnTo>
                    <a:pt x="1379" y="842"/>
                  </a:lnTo>
                  <a:lnTo>
                    <a:pt x="1400" y="832"/>
                  </a:lnTo>
                  <a:lnTo>
                    <a:pt x="1418" y="820"/>
                  </a:lnTo>
                  <a:lnTo>
                    <a:pt x="1436" y="808"/>
                  </a:lnTo>
                  <a:lnTo>
                    <a:pt x="1452" y="792"/>
                  </a:lnTo>
                  <a:lnTo>
                    <a:pt x="1468" y="775"/>
                  </a:lnTo>
                  <a:lnTo>
                    <a:pt x="1480" y="758"/>
                  </a:lnTo>
                  <a:lnTo>
                    <a:pt x="1493" y="739"/>
                  </a:lnTo>
                  <a:lnTo>
                    <a:pt x="1502" y="719"/>
                  </a:lnTo>
                  <a:lnTo>
                    <a:pt x="1510" y="697"/>
                  </a:lnTo>
                  <a:lnTo>
                    <a:pt x="1516" y="675"/>
                  </a:lnTo>
                  <a:lnTo>
                    <a:pt x="1520" y="652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0" y="605"/>
                  </a:lnTo>
                  <a:lnTo>
                    <a:pt x="1516" y="582"/>
                  </a:lnTo>
                  <a:lnTo>
                    <a:pt x="1510" y="560"/>
                  </a:lnTo>
                  <a:lnTo>
                    <a:pt x="1502" y="538"/>
                  </a:lnTo>
                  <a:lnTo>
                    <a:pt x="1493" y="519"/>
                  </a:lnTo>
                  <a:lnTo>
                    <a:pt x="1480" y="499"/>
                  </a:lnTo>
                  <a:lnTo>
                    <a:pt x="1468" y="482"/>
                  </a:lnTo>
                  <a:lnTo>
                    <a:pt x="1452" y="465"/>
                  </a:lnTo>
                  <a:lnTo>
                    <a:pt x="1436" y="451"/>
                  </a:lnTo>
                  <a:lnTo>
                    <a:pt x="1418" y="437"/>
                  </a:lnTo>
                  <a:lnTo>
                    <a:pt x="1400" y="425"/>
                  </a:lnTo>
                  <a:lnTo>
                    <a:pt x="1379" y="415"/>
                  </a:lnTo>
                  <a:lnTo>
                    <a:pt x="1358" y="408"/>
                  </a:lnTo>
                  <a:lnTo>
                    <a:pt x="1336" y="402"/>
                  </a:lnTo>
                  <a:lnTo>
                    <a:pt x="1313" y="399"/>
                  </a:lnTo>
                  <a:lnTo>
                    <a:pt x="1289" y="397"/>
                  </a:lnTo>
                  <a:lnTo>
                    <a:pt x="1289" y="397"/>
                  </a:lnTo>
                  <a:lnTo>
                    <a:pt x="1272" y="398"/>
                  </a:lnTo>
                  <a:lnTo>
                    <a:pt x="1256" y="400"/>
                  </a:lnTo>
                  <a:lnTo>
                    <a:pt x="1239" y="403"/>
                  </a:lnTo>
                  <a:lnTo>
                    <a:pt x="1224" y="407"/>
                  </a:lnTo>
                  <a:lnTo>
                    <a:pt x="1224" y="407"/>
                  </a:lnTo>
                  <a:lnTo>
                    <a:pt x="1217" y="408"/>
                  </a:lnTo>
                  <a:lnTo>
                    <a:pt x="1210" y="408"/>
                  </a:lnTo>
                  <a:lnTo>
                    <a:pt x="1203" y="406"/>
                  </a:lnTo>
                  <a:lnTo>
                    <a:pt x="1197" y="404"/>
                  </a:lnTo>
                  <a:lnTo>
                    <a:pt x="1197" y="404"/>
                  </a:lnTo>
                  <a:lnTo>
                    <a:pt x="1192" y="400"/>
                  </a:lnTo>
                  <a:lnTo>
                    <a:pt x="1187" y="395"/>
                  </a:lnTo>
                  <a:lnTo>
                    <a:pt x="1183" y="388"/>
                  </a:lnTo>
                  <a:lnTo>
                    <a:pt x="1181" y="382"/>
                  </a:lnTo>
                  <a:lnTo>
                    <a:pt x="1181" y="382"/>
                  </a:lnTo>
                  <a:lnTo>
                    <a:pt x="1177" y="365"/>
                  </a:lnTo>
                  <a:lnTo>
                    <a:pt x="1173" y="348"/>
                  </a:lnTo>
                  <a:lnTo>
                    <a:pt x="1168" y="332"/>
                  </a:lnTo>
                  <a:lnTo>
                    <a:pt x="1162" y="316"/>
                  </a:lnTo>
                  <a:lnTo>
                    <a:pt x="1154" y="301"/>
                  </a:lnTo>
                  <a:lnTo>
                    <a:pt x="1147" y="285"/>
                  </a:lnTo>
                  <a:lnTo>
                    <a:pt x="1140" y="271"/>
                  </a:lnTo>
                  <a:lnTo>
                    <a:pt x="1131" y="256"/>
                  </a:lnTo>
                  <a:lnTo>
                    <a:pt x="1122" y="242"/>
                  </a:lnTo>
                  <a:lnTo>
                    <a:pt x="1112" y="228"/>
                  </a:lnTo>
                  <a:lnTo>
                    <a:pt x="1102" y="215"/>
                  </a:lnTo>
                  <a:lnTo>
                    <a:pt x="1091" y="202"/>
                  </a:lnTo>
                  <a:lnTo>
                    <a:pt x="1080" y="190"/>
                  </a:lnTo>
                  <a:lnTo>
                    <a:pt x="1069" y="177"/>
                  </a:lnTo>
                  <a:lnTo>
                    <a:pt x="1056" y="167"/>
                  </a:lnTo>
                  <a:lnTo>
                    <a:pt x="1043" y="156"/>
                  </a:lnTo>
                  <a:lnTo>
                    <a:pt x="1030" y="145"/>
                  </a:lnTo>
                  <a:lnTo>
                    <a:pt x="1017" y="136"/>
                  </a:lnTo>
                  <a:lnTo>
                    <a:pt x="1002" y="127"/>
                  </a:lnTo>
                  <a:lnTo>
                    <a:pt x="988" y="118"/>
                  </a:lnTo>
                  <a:lnTo>
                    <a:pt x="973" y="110"/>
                  </a:lnTo>
                  <a:lnTo>
                    <a:pt x="959" y="103"/>
                  </a:lnTo>
                  <a:lnTo>
                    <a:pt x="943" y="97"/>
                  </a:lnTo>
                  <a:lnTo>
                    <a:pt x="928" y="90"/>
                  </a:lnTo>
                  <a:lnTo>
                    <a:pt x="911" y="85"/>
                  </a:lnTo>
                  <a:lnTo>
                    <a:pt x="895" y="80"/>
                  </a:lnTo>
                  <a:lnTo>
                    <a:pt x="879" y="76"/>
                  </a:lnTo>
                  <a:lnTo>
                    <a:pt x="862" y="73"/>
                  </a:lnTo>
                  <a:lnTo>
                    <a:pt x="845" y="70"/>
                  </a:lnTo>
                  <a:lnTo>
                    <a:pt x="828" y="68"/>
                  </a:lnTo>
                  <a:lnTo>
                    <a:pt x="811" y="67"/>
                  </a:lnTo>
                  <a:lnTo>
                    <a:pt x="793" y="67"/>
                  </a:lnTo>
                  <a:lnTo>
                    <a:pt x="793" y="67"/>
                  </a:lnTo>
                  <a:lnTo>
                    <a:pt x="767" y="68"/>
                  </a:lnTo>
                  <a:lnTo>
                    <a:pt x="742" y="70"/>
                  </a:lnTo>
                  <a:lnTo>
                    <a:pt x="717" y="74"/>
                  </a:lnTo>
                  <a:lnTo>
                    <a:pt x="693" y="79"/>
                  </a:lnTo>
                  <a:lnTo>
                    <a:pt x="668" y="86"/>
                  </a:lnTo>
                  <a:lnTo>
                    <a:pt x="645" y="96"/>
                  </a:lnTo>
                  <a:lnTo>
                    <a:pt x="623" y="105"/>
                  </a:lnTo>
                  <a:lnTo>
                    <a:pt x="600" y="116"/>
                  </a:lnTo>
                  <a:lnTo>
                    <a:pt x="579" y="130"/>
                  </a:lnTo>
                  <a:lnTo>
                    <a:pt x="558" y="144"/>
                  </a:lnTo>
                  <a:lnTo>
                    <a:pt x="539" y="160"/>
                  </a:lnTo>
                  <a:lnTo>
                    <a:pt x="520" y="176"/>
                  </a:lnTo>
                  <a:lnTo>
                    <a:pt x="502" y="194"/>
                  </a:lnTo>
                  <a:lnTo>
                    <a:pt x="486" y="214"/>
                  </a:lnTo>
                  <a:lnTo>
                    <a:pt x="470" y="234"/>
                  </a:lnTo>
                  <a:lnTo>
                    <a:pt x="456" y="256"/>
                  </a:lnTo>
                  <a:lnTo>
                    <a:pt x="456" y="256"/>
                  </a:lnTo>
                  <a:lnTo>
                    <a:pt x="453" y="260"/>
                  </a:lnTo>
                  <a:lnTo>
                    <a:pt x="450" y="263"/>
                  </a:lnTo>
                  <a:lnTo>
                    <a:pt x="446" y="266"/>
                  </a:lnTo>
                  <a:lnTo>
                    <a:pt x="440" y="268"/>
                  </a:lnTo>
                  <a:lnTo>
                    <a:pt x="436" y="271"/>
                  </a:lnTo>
                  <a:lnTo>
                    <a:pt x="431" y="272"/>
                  </a:lnTo>
                  <a:lnTo>
                    <a:pt x="426" y="272"/>
                  </a:lnTo>
                  <a:lnTo>
                    <a:pt x="422" y="271"/>
                  </a:lnTo>
                  <a:lnTo>
                    <a:pt x="422" y="271"/>
                  </a:lnTo>
                  <a:lnTo>
                    <a:pt x="403" y="267"/>
                  </a:lnTo>
                  <a:lnTo>
                    <a:pt x="386" y="266"/>
                  </a:lnTo>
                  <a:lnTo>
                    <a:pt x="368" y="265"/>
                  </a:lnTo>
                  <a:lnTo>
                    <a:pt x="351" y="265"/>
                  </a:lnTo>
                  <a:lnTo>
                    <a:pt x="334" y="266"/>
                  </a:lnTo>
                  <a:lnTo>
                    <a:pt x="317" y="268"/>
                  </a:lnTo>
                  <a:lnTo>
                    <a:pt x="301" y="272"/>
                  </a:lnTo>
                  <a:lnTo>
                    <a:pt x="285" y="275"/>
                  </a:lnTo>
                  <a:lnTo>
                    <a:pt x="270" y="280"/>
                  </a:lnTo>
                  <a:lnTo>
                    <a:pt x="254" y="285"/>
                  </a:lnTo>
                  <a:lnTo>
                    <a:pt x="240" y="291"/>
                  </a:lnTo>
                  <a:lnTo>
                    <a:pt x="225" y="298"/>
                  </a:lnTo>
                  <a:lnTo>
                    <a:pt x="211" y="307"/>
                  </a:lnTo>
                  <a:lnTo>
                    <a:pt x="197" y="315"/>
                  </a:lnTo>
                  <a:lnTo>
                    <a:pt x="185" y="324"/>
                  </a:lnTo>
                  <a:lnTo>
                    <a:pt x="172" y="335"/>
                  </a:lnTo>
                  <a:lnTo>
                    <a:pt x="160" y="345"/>
                  </a:lnTo>
                  <a:lnTo>
                    <a:pt x="149" y="356"/>
                  </a:lnTo>
                  <a:lnTo>
                    <a:pt x="138" y="368"/>
                  </a:lnTo>
                  <a:lnTo>
                    <a:pt x="128" y="380"/>
                  </a:lnTo>
                  <a:lnTo>
                    <a:pt x="119" y="393"/>
                  </a:lnTo>
                  <a:lnTo>
                    <a:pt x="110" y="406"/>
                  </a:lnTo>
                  <a:lnTo>
                    <a:pt x="102" y="421"/>
                  </a:lnTo>
                  <a:lnTo>
                    <a:pt x="95" y="435"/>
                  </a:lnTo>
                  <a:lnTo>
                    <a:pt x="89" y="450"/>
                  </a:lnTo>
                  <a:lnTo>
                    <a:pt x="82" y="464"/>
                  </a:lnTo>
                  <a:lnTo>
                    <a:pt x="77" y="481"/>
                  </a:lnTo>
                  <a:lnTo>
                    <a:pt x="73" y="496"/>
                  </a:lnTo>
                  <a:lnTo>
                    <a:pt x="70" y="513"/>
                  </a:lnTo>
                  <a:lnTo>
                    <a:pt x="68" y="529"/>
                  </a:lnTo>
                  <a:lnTo>
                    <a:pt x="67" y="546"/>
                  </a:lnTo>
                  <a:lnTo>
                    <a:pt x="66" y="562"/>
                  </a:lnTo>
                  <a:lnTo>
                    <a:pt x="66" y="562"/>
                  </a:lnTo>
                  <a:lnTo>
                    <a:pt x="67" y="578"/>
                  </a:lnTo>
                  <a:lnTo>
                    <a:pt x="68" y="593"/>
                  </a:lnTo>
                  <a:lnTo>
                    <a:pt x="69" y="608"/>
                  </a:lnTo>
                  <a:lnTo>
                    <a:pt x="72" y="622"/>
                  </a:lnTo>
                  <a:lnTo>
                    <a:pt x="75" y="637"/>
                  </a:lnTo>
                  <a:lnTo>
                    <a:pt x="79" y="651"/>
                  </a:lnTo>
                  <a:lnTo>
                    <a:pt x="84" y="665"/>
                  </a:lnTo>
                  <a:lnTo>
                    <a:pt x="90" y="678"/>
                  </a:lnTo>
                  <a:lnTo>
                    <a:pt x="96" y="692"/>
                  </a:lnTo>
                  <a:lnTo>
                    <a:pt x="102" y="704"/>
                  </a:lnTo>
                  <a:lnTo>
                    <a:pt x="109" y="716"/>
                  </a:lnTo>
                  <a:lnTo>
                    <a:pt x="116" y="729"/>
                  </a:lnTo>
                  <a:lnTo>
                    <a:pt x="125" y="740"/>
                  </a:lnTo>
                  <a:lnTo>
                    <a:pt x="134" y="752"/>
                  </a:lnTo>
                  <a:lnTo>
                    <a:pt x="143" y="762"/>
                  </a:lnTo>
                  <a:lnTo>
                    <a:pt x="153" y="772"/>
                  </a:lnTo>
                  <a:lnTo>
                    <a:pt x="163" y="783"/>
                  </a:lnTo>
                  <a:lnTo>
                    <a:pt x="174" y="792"/>
                  </a:lnTo>
                  <a:lnTo>
                    <a:pt x="186" y="800"/>
                  </a:lnTo>
                  <a:lnTo>
                    <a:pt x="197" y="810"/>
                  </a:lnTo>
                  <a:lnTo>
                    <a:pt x="210" y="817"/>
                  </a:lnTo>
                  <a:lnTo>
                    <a:pt x="222" y="824"/>
                  </a:lnTo>
                  <a:lnTo>
                    <a:pt x="234" y="830"/>
                  </a:lnTo>
                  <a:lnTo>
                    <a:pt x="248" y="836"/>
                  </a:lnTo>
                  <a:lnTo>
                    <a:pt x="261" y="842"/>
                  </a:lnTo>
                  <a:lnTo>
                    <a:pt x="275" y="847"/>
                  </a:lnTo>
                  <a:lnTo>
                    <a:pt x="289" y="851"/>
                  </a:lnTo>
                  <a:lnTo>
                    <a:pt x="304" y="854"/>
                  </a:lnTo>
                  <a:lnTo>
                    <a:pt x="318" y="856"/>
                  </a:lnTo>
                  <a:lnTo>
                    <a:pt x="333" y="858"/>
                  </a:lnTo>
                  <a:lnTo>
                    <a:pt x="348" y="859"/>
                  </a:lnTo>
                  <a:lnTo>
                    <a:pt x="364" y="860"/>
                  </a:lnTo>
                  <a:lnTo>
                    <a:pt x="364" y="860"/>
                  </a:lnTo>
                  <a:lnTo>
                    <a:pt x="388" y="859"/>
                  </a:lnTo>
                  <a:lnTo>
                    <a:pt x="411" y="856"/>
                  </a:lnTo>
                  <a:lnTo>
                    <a:pt x="435" y="851"/>
                  </a:lnTo>
                  <a:lnTo>
                    <a:pt x="458" y="845"/>
                  </a:lnTo>
                  <a:lnTo>
                    <a:pt x="481" y="835"/>
                  </a:lnTo>
                  <a:lnTo>
                    <a:pt x="501" y="825"/>
                  </a:lnTo>
                  <a:lnTo>
                    <a:pt x="523" y="814"/>
                  </a:lnTo>
                  <a:lnTo>
                    <a:pt x="543" y="799"/>
                  </a:lnTo>
                  <a:lnTo>
                    <a:pt x="543" y="799"/>
                  </a:lnTo>
                  <a:lnTo>
                    <a:pt x="547" y="796"/>
                  </a:lnTo>
                  <a:lnTo>
                    <a:pt x="552" y="795"/>
                  </a:lnTo>
                  <a:lnTo>
                    <a:pt x="556" y="793"/>
                  </a:lnTo>
                  <a:lnTo>
                    <a:pt x="561" y="793"/>
                  </a:lnTo>
                  <a:lnTo>
                    <a:pt x="567" y="793"/>
                  </a:lnTo>
                  <a:lnTo>
                    <a:pt x="572" y="794"/>
                  </a:lnTo>
                  <a:lnTo>
                    <a:pt x="576" y="795"/>
                  </a:lnTo>
                  <a:lnTo>
                    <a:pt x="580" y="798"/>
                  </a:lnTo>
                  <a:lnTo>
                    <a:pt x="580" y="798"/>
                  </a:lnTo>
                  <a:lnTo>
                    <a:pt x="595" y="806"/>
                  </a:lnTo>
                  <a:lnTo>
                    <a:pt x="608" y="814"/>
                  </a:lnTo>
                  <a:lnTo>
                    <a:pt x="623" y="821"/>
                  </a:lnTo>
                  <a:lnTo>
                    <a:pt x="637" y="827"/>
                  </a:lnTo>
                  <a:lnTo>
                    <a:pt x="653" y="833"/>
                  </a:lnTo>
                  <a:lnTo>
                    <a:pt x="667" y="839"/>
                  </a:lnTo>
                  <a:lnTo>
                    <a:pt x="683" y="843"/>
                  </a:lnTo>
                  <a:lnTo>
                    <a:pt x="698" y="847"/>
                  </a:lnTo>
                  <a:lnTo>
                    <a:pt x="714" y="851"/>
                  </a:lnTo>
                  <a:lnTo>
                    <a:pt x="729" y="853"/>
                  </a:lnTo>
                  <a:lnTo>
                    <a:pt x="760" y="857"/>
                  </a:lnTo>
                  <a:lnTo>
                    <a:pt x="792" y="858"/>
                  </a:lnTo>
                  <a:lnTo>
                    <a:pt x="823" y="857"/>
                  </a:lnTo>
                  <a:lnTo>
                    <a:pt x="855" y="853"/>
                  </a:lnTo>
                  <a:lnTo>
                    <a:pt x="886" y="847"/>
                  </a:lnTo>
                  <a:lnTo>
                    <a:pt x="916" y="839"/>
                  </a:lnTo>
                  <a:lnTo>
                    <a:pt x="932" y="833"/>
                  </a:lnTo>
                  <a:lnTo>
                    <a:pt x="946" y="828"/>
                  </a:lnTo>
                  <a:lnTo>
                    <a:pt x="961" y="821"/>
                  </a:lnTo>
                  <a:lnTo>
                    <a:pt x="975" y="815"/>
                  </a:lnTo>
                  <a:lnTo>
                    <a:pt x="990" y="808"/>
                  </a:lnTo>
                  <a:lnTo>
                    <a:pt x="1003" y="799"/>
                  </a:lnTo>
                  <a:lnTo>
                    <a:pt x="1017" y="790"/>
                  </a:lnTo>
                  <a:lnTo>
                    <a:pt x="1030" y="781"/>
                  </a:lnTo>
                  <a:lnTo>
                    <a:pt x="1043" y="771"/>
                  </a:lnTo>
                  <a:lnTo>
                    <a:pt x="1055" y="761"/>
                  </a:lnTo>
                  <a:lnTo>
                    <a:pt x="1055" y="761"/>
                  </a:lnTo>
                  <a:lnTo>
                    <a:pt x="1060" y="757"/>
                  </a:lnTo>
                  <a:lnTo>
                    <a:pt x="1065" y="755"/>
                  </a:lnTo>
                  <a:lnTo>
                    <a:pt x="1071" y="753"/>
                  </a:lnTo>
                  <a:lnTo>
                    <a:pt x="1077" y="753"/>
                  </a:lnTo>
                  <a:lnTo>
                    <a:pt x="1077" y="753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6">
              <a:extLst>
                <a:ext uri="{FF2B5EF4-FFF2-40B4-BE49-F238E27FC236}">
                  <a16:creationId xmlns:a16="http://schemas.microsoft.com/office/drawing/2014/main" id="{BA0E0D95-EDB8-4487-82E9-4C8352B58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1213" y="2787650"/>
              <a:ext cx="47625" cy="47625"/>
            </a:xfrm>
            <a:custGeom>
              <a:avLst/>
              <a:gdLst>
                <a:gd name="T0" fmla="*/ 48 w 208"/>
                <a:gd name="T1" fmla="*/ 208 h 208"/>
                <a:gd name="T2" fmla="*/ 0 w 208"/>
                <a:gd name="T3" fmla="*/ 161 h 208"/>
                <a:gd name="T4" fmla="*/ 162 w 208"/>
                <a:gd name="T5" fmla="*/ 0 h 208"/>
                <a:gd name="T6" fmla="*/ 208 w 208"/>
                <a:gd name="T7" fmla="*/ 47 h 208"/>
                <a:gd name="T8" fmla="*/ 48 w 208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208">
                  <a:moveTo>
                    <a:pt x="48" y="208"/>
                  </a:moveTo>
                  <a:lnTo>
                    <a:pt x="0" y="161"/>
                  </a:lnTo>
                  <a:lnTo>
                    <a:pt x="162" y="0"/>
                  </a:lnTo>
                  <a:lnTo>
                    <a:pt x="208" y="47"/>
                  </a:lnTo>
                  <a:lnTo>
                    <a:pt x="48" y="20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7">
              <a:extLst>
                <a:ext uri="{FF2B5EF4-FFF2-40B4-BE49-F238E27FC236}">
                  <a16:creationId xmlns:a16="http://schemas.microsoft.com/office/drawing/2014/main" id="{640DA98D-6E1F-4068-99F3-44A7BE8B7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9788" y="2746375"/>
              <a:ext cx="60325" cy="60325"/>
            </a:xfrm>
            <a:custGeom>
              <a:avLst/>
              <a:gdLst>
                <a:gd name="T0" fmla="*/ 119 w 263"/>
                <a:gd name="T1" fmla="*/ 262 h 263"/>
                <a:gd name="T2" fmla="*/ 80 w 263"/>
                <a:gd name="T3" fmla="*/ 253 h 263"/>
                <a:gd name="T4" fmla="*/ 47 w 263"/>
                <a:gd name="T5" fmla="*/ 233 h 263"/>
                <a:gd name="T6" fmla="*/ 22 w 263"/>
                <a:gd name="T7" fmla="*/ 206 h 263"/>
                <a:gd name="T8" fmla="*/ 6 w 263"/>
                <a:gd name="T9" fmla="*/ 170 h 263"/>
                <a:gd name="T10" fmla="*/ 0 w 263"/>
                <a:gd name="T11" fmla="*/ 131 h 263"/>
                <a:gd name="T12" fmla="*/ 2 w 263"/>
                <a:gd name="T13" fmla="*/ 105 h 263"/>
                <a:gd name="T14" fmla="*/ 15 w 263"/>
                <a:gd name="T15" fmla="*/ 68 h 263"/>
                <a:gd name="T16" fmla="*/ 38 w 263"/>
                <a:gd name="T17" fmla="*/ 38 h 263"/>
                <a:gd name="T18" fmla="*/ 69 w 263"/>
                <a:gd name="T19" fmla="*/ 15 h 263"/>
                <a:gd name="T20" fmla="*/ 105 w 263"/>
                <a:gd name="T21" fmla="*/ 2 h 263"/>
                <a:gd name="T22" fmla="*/ 132 w 263"/>
                <a:gd name="T23" fmla="*/ 0 h 263"/>
                <a:gd name="T24" fmla="*/ 171 w 263"/>
                <a:gd name="T25" fmla="*/ 5 h 263"/>
                <a:gd name="T26" fmla="*/ 205 w 263"/>
                <a:gd name="T27" fmla="*/ 21 h 263"/>
                <a:gd name="T28" fmla="*/ 233 w 263"/>
                <a:gd name="T29" fmla="*/ 47 h 263"/>
                <a:gd name="T30" fmla="*/ 253 w 263"/>
                <a:gd name="T31" fmla="*/ 80 h 263"/>
                <a:gd name="T32" fmla="*/ 263 w 263"/>
                <a:gd name="T33" fmla="*/ 118 h 263"/>
                <a:gd name="T34" fmla="*/ 263 w 263"/>
                <a:gd name="T35" fmla="*/ 144 h 263"/>
                <a:gd name="T36" fmla="*/ 253 w 263"/>
                <a:gd name="T37" fmla="*/ 183 h 263"/>
                <a:gd name="T38" fmla="*/ 233 w 263"/>
                <a:gd name="T39" fmla="*/ 216 h 263"/>
                <a:gd name="T40" fmla="*/ 205 w 263"/>
                <a:gd name="T41" fmla="*/ 241 h 263"/>
                <a:gd name="T42" fmla="*/ 171 w 263"/>
                <a:gd name="T43" fmla="*/ 257 h 263"/>
                <a:gd name="T44" fmla="*/ 132 w 263"/>
                <a:gd name="T45" fmla="*/ 263 h 263"/>
                <a:gd name="T46" fmla="*/ 132 w 263"/>
                <a:gd name="T47" fmla="*/ 65 h 263"/>
                <a:gd name="T48" fmla="*/ 112 w 263"/>
                <a:gd name="T49" fmla="*/ 68 h 263"/>
                <a:gd name="T50" fmla="*/ 95 w 263"/>
                <a:gd name="T51" fmla="*/ 76 h 263"/>
                <a:gd name="T52" fmla="*/ 73 w 263"/>
                <a:gd name="T53" fmla="*/ 100 h 263"/>
                <a:gd name="T54" fmla="*/ 67 w 263"/>
                <a:gd name="T55" fmla="*/ 118 h 263"/>
                <a:gd name="T56" fmla="*/ 66 w 263"/>
                <a:gd name="T57" fmla="*/ 131 h 263"/>
                <a:gd name="T58" fmla="*/ 69 w 263"/>
                <a:gd name="T59" fmla="*/ 151 h 263"/>
                <a:gd name="T60" fmla="*/ 77 w 263"/>
                <a:gd name="T61" fmla="*/ 168 h 263"/>
                <a:gd name="T62" fmla="*/ 100 w 263"/>
                <a:gd name="T63" fmla="*/ 189 h 263"/>
                <a:gd name="T64" fmla="*/ 119 w 263"/>
                <a:gd name="T65" fmla="*/ 196 h 263"/>
                <a:gd name="T66" fmla="*/ 132 w 263"/>
                <a:gd name="T67" fmla="*/ 197 h 263"/>
                <a:gd name="T68" fmla="*/ 152 w 263"/>
                <a:gd name="T69" fmla="*/ 194 h 263"/>
                <a:gd name="T70" fmla="*/ 168 w 263"/>
                <a:gd name="T71" fmla="*/ 186 h 263"/>
                <a:gd name="T72" fmla="*/ 190 w 263"/>
                <a:gd name="T73" fmla="*/ 163 h 263"/>
                <a:gd name="T74" fmla="*/ 196 w 263"/>
                <a:gd name="T75" fmla="*/ 144 h 263"/>
                <a:gd name="T76" fmla="*/ 198 w 263"/>
                <a:gd name="T77" fmla="*/ 131 h 263"/>
                <a:gd name="T78" fmla="*/ 195 w 263"/>
                <a:gd name="T79" fmla="*/ 111 h 263"/>
                <a:gd name="T80" fmla="*/ 187 w 263"/>
                <a:gd name="T81" fmla="*/ 95 h 263"/>
                <a:gd name="T82" fmla="*/ 163 w 263"/>
                <a:gd name="T83" fmla="*/ 73 h 263"/>
                <a:gd name="T84" fmla="*/ 144 w 263"/>
                <a:gd name="T85" fmla="*/ 67 h 263"/>
                <a:gd name="T86" fmla="*/ 132 w 263"/>
                <a:gd name="T87" fmla="*/ 6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3" h="263">
                  <a:moveTo>
                    <a:pt x="132" y="263"/>
                  </a:moveTo>
                  <a:lnTo>
                    <a:pt x="132" y="263"/>
                  </a:lnTo>
                  <a:lnTo>
                    <a:pt x="119" y="262"/>
                  </a:lnTo>
                  <a:lnTo>
                    <a:pt x="105" y="260"/>
                  </a:lnTo>
                  <a:lnTo>
                    <a:pt x="93" y="257"/>
                  </a:lnTo>
                  <a:lnTo>
                    <a:pt x="80" y="253"/>
                  </a:lnTo>
                  <a:lnTo>
                    <a:pt x="69" y="248"/>
                  </a:lnTo>
                  <a:lnTo>
                    <a:pt x="57" y="241"/>
                  </a:lnTo>
                  <a:lnTo>
                    <a:pt x="47" y="233"/>
                  </a:lnTo>
                  <a:lnTo>
                    <a:pt x="38" y="225"/>
                  </a:lnTo>
                  <a:lnTo>
                    <a:pt x="30" y="216"/>
                  </a:lnTo>
                  <a:lnTo>
                    <a:pt x="22" y="206"/>
                  </a:lnTo>
                  <a:lnTo>
                    <a:pt x="15" y="194"/>
                  </a:lnTo>
                  <a:lnTo>
                    <a:pt x="10" y="183"/>
                  </a:lnTo>
                  <a:lnTo>
                    <a:pt x="6" y="170"/>
                  </a:lnTo>
                  <a:lnTo>
                    <a:pt x="2" y="158"/>
                  </a:lnTo>
                  <a:lnTo>
                    <a:pt x="1" y="144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1" y="118"/>
                  </a:lnTo>
                  <a:lnTo>
                    <a:pt x="2" y="105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5" y="68"/>
                  </a:lnTo>
                  <a:lnTo>
                    <a:pt x="22" y="58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7" y="30"/>
                  </a:lnTo>
                  <a:lnTo>
                    <a:pt x="57" y="21"/>
                  </a:lnTo>
                  <a:lnTo>
                    <a:pt x="69" y="15"/>
                  </a:lnTo>
                  <a:lnTo>
                    <a:pt x="80" y="10"/>
                  </a:lnTo>
                  <a:lnTo>
                    <a:pt x="93" y="5"/>
                  </a:lnTo>
                  <a:lnTo>
                    <a:pt x="105" y="2"/>
                  </a:lnTo>
                  <a:lnTo>
                    <a:pt x="119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5" y="0"/>
                  </a:lnTo>
                  <a:lnTo>
                    <a:pt x="158" y="2"/>
                  </a:lnTo>
                  <a:lnTo>
                    <a:pt x="171" y="5"/>
                  </a:lnTo>
                  <a:lnTo>
                    <a:pt x="183" y="10"/>
                  </a:lnTo>
                  <a:lnTo>
                    <a:pt x="194" y="15"/>
                  </a:lnTo>
                  <a:lnTo>
                    <a:pt x="205" y="21"/>
                  </a:lnTo>
                  <a:lnTo>
                    <a:pt x="216" y="30"/>
                  </a:lnTo>
                  <a:lnTo>
                    <a:pt x="225" y="38"/>
                  </a:lnTo>
                  <a:lnTo>
                    <a:pt x="233" y="47"/>
                  </a:lnTo>
                  <a:lnTo>
                    <a:pt x="242" y="58"/>
                  </a:lnTo>
                  <a:lnTo>
                    <a:pt x="248" y="68"/>
                  </a:lnTo>
                  <a:lnTo>
                    <a:pt x="253" y="80"/>
                  </a:lnTo>
                  <a:lnTo>
                    <a:pt x="258" y="92"/>
                  </a:lnTo>
                  <a:lnTo>
                    <a:pt x="261" y="105"/>
                  </a:lnTo>
                  <a:lnTo>
                    <a:pt x="263" y="118"/>
                  </a:lnTo>
                  <a:lnTo>
                    <a:pt x="263" y="131"/>
                  </a:lnTo>
                  <a:lnTo>
                    <a:pt x="263" y="131"/>
                  </a:lnTo>
                  <a:lnTo>
                    <a:pt x="263" y="144"/>
                  </a:lnTo>
                  <a:lnTo>
                    <a:pt x="261" y="158"/>
                  </a:lnTo>
                  <a:lnTo>
                    <a:pt x="258" y="170"/>
                  </a:lnTo>
                  <a:lnTo>
                    <a:pt x="253" y="183"/>
                  </a:lnTo>
                  <a:lnTo>
                    <a:pt x="248" y="194"/>
                  </a:lnTo>
                  <a:lnTo>
                    <a:pt x="242" y="206"/>
                  </a:lnTo>
                  <a:lnTo>
                    <a:pt x="233" y="216"/>
                  </a:lnTo>
                  <a:lnTo>
                    <a:pt x="225" y="225"/>
                  </a:lnTo>
                  <a:lnTo>
                    <a:pt x="216" y="233"/>
                  </a:lnTo>
                  <a:lnTo>
                    <a:pt x="205" y="241"/>
                  </a:lnTo>
                  <a:lnTo>
                    <a:pt x="194" y="248"/>
                  </a:lnTo>
                  <a:lnTo>
                    <a:pt x="183" y="253"/>
                  </a:lnTo>
                  <a:lnTo>
                    <a:pt x="171" y="257"/>
                  </a:lnTo>
                  <a:lnTo>
                    <a:pt x="158" y="260"/>
                  </a:lnTo>
                  <a:lnTo>
                    <a:pt x="145" y="262"/>
                  </a:lnTo>
                  <a:lnTo>
                    <a:pt x="132" y="263"/>
                  </a:lnTo>
                  <a:lnTo>
                    <a:pt x="132" y="263"/>
                  </a:lnTo>
                  <a:close/>
                  <a:moveTo>
                    <a:pt x="132" y="65"/>
                  </a:moveTo>
                  <a:lnTo>
                    <a:pt x="132" y="65"/>
                  </a:lnTo>
                  <a:lnTo>
                    <a:pt x="125" y="66"/>
                  </a:lnTo>
                  <a:lnTo>
                    <a:pt x="119" y="67"/>
                  </a:lnTo>
                  <a:lnTo>
                    <a:pt x="112" y="68"/>
                  </a:lnTo>
                  <a:lnTo>
                    <a:pt x="106" y="70"/>
                  </a:lnTo>
                  <a:lnTo>
                    <a:pt x="100" y="73"/>
                  </a:lnTo>
                  <a:lnTo>
                    <a:pt x="95" y="76"/>
                  </a:lnTo>
                  <a:lnTo>
                    <a:pt x="84" y="84"/>
                  </a:lnTo>
                  <a:lnTo>
                    <a:pt x="77" y="95"/>
                  </a:lnTo>
                  <a:lnTo>
                    <a:pt x="73" y="100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18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8"/>
                  </a:lnTo>
                  <a:lnTo>
                    <a:pt x="67" y="144"/>
                  </a:lnTo>
                  <a:lnTo>
                    <a:pt x="69" y="151"/>
                  </a:lnTo>
                  <a:lnTo>
                    <a:pt x="71" y="157"/>
                  </a:lnTo>
                  <a:lnTo>
                    <a:pt x="73" y="163"/>
                  </a:lnTo>
                  <a:lnTo>
                    <a:pt x="77" y="168"/>
                  </a:lnTo>
                  <a:lnTo>
                    <a:pt x="84" y="178"/>
                  </a:lnTo>
                  <a:lnTo>
                    <a:pt x="95" y="186"/>
                  </a:lnTo>
                  <a:lnTo>
                    <a:pt x="100" y="189"/>
                  </a:lnTo>
                  <a:lnTo>
                    <a:pt x="106" y="192"/>
                  </a:lnTo>
                  <a:lnTo>
                    <a:pt x="112" y="194"/>
                  </a:lnTo>
                  <a:lnTo>
                    <a:pt x="119" y="196"/>
                  </a:lnTo>
                  <a:lnTo>
                    <a:pt x="125" y="197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8" y="197"/>
                  </a:lnTo>
                  <a:lnTo>
                    <a:pt x="144" y="196"/>
                  </a:lnTo>
                  <a:lnTo>
                    <a:pt x="152" y="194"/>
                  </a:lnTo>
                  <a:lnTo>
                    <a:pt x="157" y="192"/>
                  </a:lnTo>
                  <a:lnTo>
                    <a:pt x="163" y="189"/>
                  </a:lnTo>
                  <a:lnTo>
                    <a:pt x="168" y="186"/>
                  </a:lnTo>
                  <a:lnTo>
                    <a:pt x="179" y="178"/>
                  </a:lnTo>
                  <a:lnTo>
                    <a:pt x="187" y="168"/>
                  </a:lnTo>
                  <a:lnTo>
                    <a:pt x="190" y="163"/>
                  </a:lnTo>
                  <a:lnTo>
                    <a:pt x="192" y="157"/>
                  </a:lnTo>
                  <a:lnTo>
                    <a:pt x="195" y="151"/>
                  </a:lnTo>
                  <a:lnTo>
                    <a:pt x="196" y="144"/>
                  </a:lnTo>
                  <a:lnTo>
                    <a:pt x="197" y="138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7" y="125"/>
                  </a:lnTo>
                  <a:lnTo>
                    <a:pt x="196" y="118"/>
                  </a:lnTo>
                  <a:lnTo>
                    <a:pt x="195" y="111"/>
                  </a:lnTo>
                  <a:lnTo>
                    <a:pt x="192" y="105"/>
                  </a:lnTo>
                  <a:lnTo>
                    <a:pt x="190" y="100"/>
                  </a:lnTo>
                  <a:lnTo>
                    <a:pt x="187" y="95"/>
                  </a:lnTo>
                  <a:lnTo>
                    <a:pt x="179" y="84"/>
                  </a:lnTo>
                  <a:lnTo>
                    <a:pt x="168" y="76"/>
                  </a:lnTo>
                  <a:lnTo>
                    <a:pt x="163" y="73"/>
                  </a:lnTo>
                  <a:lnTo>
                    <a:pt x="157" y="70"/>
                  </a:lnTo>
                  <a:lnTo>
                    <a:pt x="152" y="68"/>
                  </a:lnTo>
                  <a:lnTo>
                    <a:pt x="144" y="67"/>
                  </a:lnTo>
                  <a:lnTo>
                    <a:pt x="138" y="66"/>
                  </a:lnTo>
                  <a:lnTo>
                    <a:pt x="132" y="65"/>
                  </a:lnTo>
                  <a:lnTo>
                    <a:pt x="132" y="6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858D66C-B2A1-4756-9538-2767E32114CC}"/>
              </a:ext>
            </a:extLst>
          </p:cNvPr>
          <p:cNvSpPr/>
          <p:nvPr/>
        </p:nvSpPr>
        <p:spPr>
          <a:xfrm rot="2700000">
            <a:off x="3458669" y="2269958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C28A55A-DAA1-4780-A1BB-E74C781096E0}"/>
              </a:ext>
            </a:extLst>
          </p:cNvPr>
          <p:cNvGrpSpPr/>
          <p:nvPr/>
        </p:nvGrpSpPr>
        <p:grpSpPr>
          <a:xfrm>
            <a:off x="4650163" y="2123658"/>
            <a:ext cx="5364694" cy="816458"/>
            <a:chOff x="4650163" y="2157978"/>
            <a:chExt cx="4299432" cy="81645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C31F9E0-1042-4B4C-80D4-F7B7DA62395D}"/>
                </a:ext>
              </a:extLst>
            </p:cNvPr>
            <p:cNvSpPr txBox="1"/>
            <p:nvPr/>
          </p:nvSpPr>
          <p:spPr>
            <a:xfrm>
              <a:off x="4650163" y="2157978"/>
              <a:ext cx="377993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Forming - Mockups &amp; Learning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1AD0179-4ED3-4360-AF93-E88092EB4B4F}"/>
                </a:ext>
              </a:extLst>
            </p:cNvPr>
            <p:cNvSpPr/>
            <p:nvPr/>
          </p:nvSpPr>
          <p:spPr>
            <a:xfrm>
              <a:off x="4650163" y="2543549"/>
              <a:ext cx="408716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D" sz="1400">
                  <a:solidFill>
                    <a:schemeClr val="bg1"/>
                  </a:solidFill>
                  <a:latin typeface="+mj-lt"/>
                </a:rPr>
                <a:t>Drew and planned the initial designs for the ap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D" sz="1400">
                  <a:solidFill>
                    <a:schemeClr val="bg1"/>
                  </a:solidFill>
                  <a:latin typeface="+mj-lt"/>
                </a:rPr>
                <a:t>Learnt new technologies like JavaScript, Vue, etc.</a:t>
              </a:r>
              <a:endParaRPr lang="en-US" sz="140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C8CB878-F540-4860-9AA0-B05059F369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50163" y="2458485"/>
              <a:ext cx="4299432" cy="0"/>
            </a:xfrm>
            <a:prstGeom prst="line">
              <a:avLst/>
            </a:prstGeom>
            <a:ln>
              <a:solidFill>
                <a:srgbClr val="3057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AE24720-F719-45AE-9698-99918931E407}"/>
              </a:ext>
            </a:extLst>
          </p:cNvPr>
          <p:cNvGrpSpPr/>
          <p:nvPr/>
        </p:nvGrpSpPr>
        <p:grpSpPr>
          <a:xfrm>
            <a:off x="3682270" y="2467365"/>
            <a:ext cx="292100" cy="344488"/>
            <a:chOff x="8464550" y="1825625"/>
            <a:chExt cx="292100" cy="344488"/>
          </a:xfrm>
        </p:grpSpPr>
        <p:sp>
          <p:nvSpPr>
            <p:cNvPr id="67" name="Freeform 118">
              <a:extLst>
                <a:ext uri="{FF2B5EF4-FFF2-40B4-BE49-F238E27FC236}">
                  <a16:creationId xmlns:a16="http://schemas.microsoft.com/office/drawing/2014/main" id="{0D0055EB-C302-4C6A-BA92-CE12CC5E2F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5038" y="2065338"/>
              <a:ext cx="149225" cy="104775"/>
            </a:xfrm>
            <a:custGeom>
              <a:avLst/>
              <a:gdLst>
                <a:gd name="T0" fmla="*/ 496 w 661"/>
                <a:gd name="T1" fmla="*/ 462 h 462"/>
                <a:gd name="T2" fmla="*/ 165 w 661"/>
                <a:gd name="T3" fmla="*/ 462 h 462"/>
                <a:gd name="T4" fmla="*/ 165 w 661"/>
                <a:gd name="T5" fmla="*/ 462 h 462"/>
                <a:gd name="T6" fmla="*/ 160 w 661"/>
                <a:gd name="T7" fmla="*/ 461 h 462"/>
                <a:gd name="T8" fmla="*/ 154 w 661"/>
                <a:gd name="T9" fmla="*/ 460 h 462"/>
                <a:gd name="T10" fmla="*/ 150 w 661"/>
                <a:gd name="T11" fmla="*/ 458 h 462"/>
                <a:gd name="T12" fmla="*/ 145 w 661"/>
                <a:gd name="T13" fmla="*/ 456 h 462"/>
                <a:gd name="T14" fmla="*/ 142 w 661"/>
                <a:gd name="T15" fmla="*/ 453 h 462"/>
                <a:gd name="T16" fmla="*/ 138 w 661"/>
                <a:gd name="T17" fmla="*/ 449 h 462"/>
                <a:gd name="T18" fmla="*/ 136 w 661"/>
                <a:gd name="T19" fmla="*/ 445 h 462"/>
                <a:gd name="T20" fmla="*/ 134 w 661"/>
                <a:gd name="T21" fmla="*/ 439 h 462"/>
                <a:gd name="T22" fmla="*/ 1 w 661"/>
                <a:gd name="T23" fmla="*/ 43 h 462"/>
                <a:gd name="T24" fmla="*/ 1 w 661"/>
                <a:gd name="T25" fmla="*/ 43 h 462"/>
                <a:gd name="T26" fmla="*/ 0 w 661"/>
                <a:gd name="T27" fmla="*/ 35 h 462"/>
                <a:gd name="T28" fmla="*/ 0 w 661"/>
                <a:gd name="T29" fmla="*/ 28 h 462"/>
                <a:gd name="T30" fmla="*/ 2 w 661"/>
                <a:gd name="T31" fmla="*/ 19 h 462"/>
                <a:gd name="T32" fmla="*/ 5 w 661"/>
                <a:gd name="T33" fmla="*/ 13 h 462"/>
                <a:gd name="T34" fmla="*/ 5 w 661"/>
                <a:gd name="T35" fmla="*/ 13 h 462"/>
                <a:gd name="T36" fmla="*/ 12 w 661"/>
                <a:gd name="T37" fmla="*/ 7 h 462"/>
                <a:gd name="T38" fmla="*/ 18 w 661"/>
                <a:gd name="T39" fmla="*/ 3 h 462"/>
                <a:gd name="T40" fmla="*/ 25 w 661"/>
                <a:gd name="T41" fmla="*/ 0 h 462"/>
                <a:gd name="T42" fmla="*/ 32 w 661"/>
                <a:gd name="T43" fmla="*/ 0 h 462"/>
                <a:gd name="T44" fmla="*/ 627 w 661"/>
                <a:gd name="T45" fmla="*/ 0 h 462"/>
                <a:gd name="T46" fmla="*/ 627 w 661"/>
                <a:gd name="T47" fmla="*/ 0 h 462"/>
                <a:gd name="T48" fmla="*/ 636 w 661"/>
                <a:gd name="T49" fmla="*/ 0 h 462"/>
                <a:gd name="T50" fmla="*/ 643 w 661"/>
                <a:gd name="T51" fmla="*/ 3 h 462"/>
                <a:gd name="T52" fmla="*/ 649 w 661"/>
                <a:gd name="T53" fmla="*/ 7 h 462"/>
                <a:gd name="T54" fmla="*/ 654 w 661"/>
                <a:gd name="T55" fmla="*/ 13 h 462"/>
                <a:gd name="T56" fmla="*/ 654 w 661"/>
                <a:gd name="T57" fmla="*/ 13 h 462"/>
                <a:gd name="T58" fmla="*/ 658 w 661"/>
                <a:gd name="T59" fmla="*/ 19 h 462"/>
                <a:gd name="T60" fmla="*/ 661 w 661"/>
                <a:gd name="T61" fmla="*/ 28 h 462"/>
                <a:gd name="T62" fmla="*/ 661 w 661"/>
                <a:gd name="T63" fmla="*/ 35 h 462"/>
                <a:gd name="T64" fmla="*/ 660 w 661"/>
                <a:gd name="T65" fmla="*/ 43 h 462"/>
                <a:gd name="T66" fmla="*/ 527 w 661"/>
                <a:gd name="T67" fmla="*/ 439 h 462"/>
                <a:gd name="T68" fmla="*/ 527 w 661"/>
                <a:gd name="T69" fmla="*/ 439 h 462"/>
                <a:gd name="T70" fmla="*/ 525 w 661"/>
                <a:gd name="T71" fmla="*/ 445 h 462"/>
                <a:gd name="T72" fmla="*/ 522 w 661"/>
                <a:gd name="T73" fmla="*/ 449 h 462"/>
                <a:gd name="T74" fmla="*/ 519 w 661"/>
                <a:gd name="T75" fmla="*/ 453 h 462"/>
                <a:gd name="T76" fmla="*/ 515 w 661"/>
                <a:gd name="T77" fmla="*/ 456 h 462"/>
                <a:gd name="T78" fmla="*/ 510 w 661"/>
                <a:gd name="T79" fmla="*/ 458 h 462"/>
                <a:gd name="T80" fmla="*/ 506 w 661"/>
                <a:gd name="T81" fmla="*/ 460 h 462"/>
                <a:gd name="T82" fmla="*/ 501 w 661"/>
                <a:gd name="T83" fmla="*/ 461 h 462"/>
                <a:gd name="T84" fmla="*/ 496 w 661"/>
                <a:gd name="T85" fmla="*/ 462 h 462"/>
                <a:gd name="T86" fmla="*/ 496 w 661"/>
                <a:gd name="T87" fmla="*/ 462 h 462"/>
                <a:gd name="T88" fmla="*/ 189 w 661"/>
                <a:gd name="T89" fmla="*/ 396 h 462"/>
                <a:gd name="T90" fmla="*/ 472 w 661"/>
                <a:gd name="T91" fmla="*/ 396 h 462"/>
                <a:gd name="T92" fmla="*/ 582 w 661"/>
                <a:gd name="T93" fmla="*/ 65 h 462"/>
                <a:gd name="T94" fmla="*/ 79 w 661"/>
                <a:gd name="T95" fmla="*/ 65 h 462"/>
                <a:gd name="T96" fmla="*/ 189 w 661"/>
                <a:gd name="T97" fmla="*/ 39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1" h="462">
                  <a:moveTo>
                    <a:pt x="496" y="462"/>
                  </a:moveTo>
                  <a:lnTo>
                    <a:pt x="165" y="462"/>
                  </a:lnTo>
                  <a:lnTo>
                    <a:pt x="165" y="462"/>
                  </a:lnTo>
                  <a:lnTo>
                    <a:pt x="160" y="461"/>
                  </a:lnTo>
                  <a:lnTo>
                    <a:pt x="154" y="460"/>
                  </a:lnTo>
                  <a:lnTo>
                    <a:pt x="150" y="458"/>
                  </a:lnTo>
                  <a:lnTo>
                    <a:pt x="145" y="456"/>
                  </a:lnTo>
                  <a:lnTo>
                    <a:pt x="142" y="453"/>
                  </a:lnTo>
                  <a:lnTo>
                    <a:pt x="138" y="449"/>
                  </a:lnTo>
                  <a:lnTo>
                    <a:pt x="136" y="445"/>
                  </a:lnTo>
                  <a:lnTo>
                    <a:pt x="134" y="439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12" y="7"/>
                  </a:lnTo>
                  <a:lnTo>
                    <a:pt x="18" y="3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627" y="0"/>
                  </a:lnTo>
                  <a:lnTo>
                    <a:pt x="627" y="0"/>
                  </a:lnTo>
                  <a:lnTo>
                    <a:pt x="636" y="0"/>
                  </a:lnTo>
                  <a:lnTo>
                    <a:pt x="643" y="3"/>
                  </a:lnTo>
                  <a:lnTo>
                    <a:pt x="649" y="7"/>
                  </a:lnTo>
                  <a:lnTo>
                    <a:pt x="654" y="13"/>
                  </a:lnTo>
                  <a:lnTo>
                    <a:pt x="654" y="13"/>
                  </a:lnTo>
                  <a:lnTo>
                    <a:pt x="658" y="19"/>
                  </a:lnTo>
                  <a:lnTo>
                    <a:pt x="661" y="28"/>
                  </a:lnTo>
                  <a:lnTo>
                    <a:pt x="661" y="35"/>
                  </a:lnTo>
                  <a:lnTo>
                    <a:pt x="660" y="43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5" y="445"/>
                  </a:lnTo>
                  <a:lnTo>
                    <a:pt x="522" y="449"/>
                  </a:lnTo>
                  <a:lnTo>
                    <a:pt x="519" y="453"/>
                  </a:lnTo>
                  <a:lnTo>
                    <a:pt x="515" y="456"/>
                  </a:lnTo>
                  <a:lnTo>
                    <a:pt x="510" y="458"/>
                  </a:lnTo>
                  <a:lnTo>
                    <a:pt x="506" y="460"/>
                  </a:lnTo>
                  <a:lnTo>
                    <a:pt x="501" y="461"/>
                  </a:lnTo>
                  <a:lnTo>
                    <a:pt x="496" y="462"/>
                  </a:lnTo>
                  <a:lnTo>
                    <a:pt x="496" y="462"/>
                  </a:lnTo>
                  <a:close/>
                  <a:moveTo>
                    <a:pt x="189" y="396"/>
                  </a:moveTo>
                  <a:lnTo>
                    <a:pt x="472" y="396"/>
                  </a:lnTo>
                  <a:lnTo>
                    <a:pt x="582" y="65"/>
                  </a:lnTo>
                  <a:lnTo>
                    <a:pt x="79" y="65"/>
                  </a:lnTo>
                  <a:lnTo>
                    <a:pt x="189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19">
              <a:extLst>
                <a:ext uri="{FF2B5EF4-FFF2-40B4-BE49-F238E27FC236}">
                  <a16:creationId xmlns:a16="http://schemas.microsoft.com/office/drawing/2014/main" id="{B1FFD08D-F97A-4C3E-A0AD-6ECF299A2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2825" y="1909763"/>
              <a:ext cx="123825" cy="139700"/>
            </a:xfrm>
            <a:custGeom>
              <a:avLst/>
              <a:gdLst>
                <a:gd name="T0" fmla="*/ 237 w 546"/>
                <a:gd name="T1" fmla="*/ 608 h 610"/>
                <a:gd name="T2" fmla="*/ 193 w 546"/>
                <a:gd name="T3" fmla="*/ 593 h 610"/>
                <a:gd name="T4" fmla="*/ 155 w 546"/>
                <a:gd name="T5" fmla="*/ 565 h 610"/>
                <a:gd name="T6" fmla="*/ 118 w 546"/>
                <a:gd name="T7" fmla="*/ 519 h 610"/>
                <a:gd name="T8" fmla="*/ 93 w 546"/>
                <a:gd name="T9" fmla="*/ 471 h 610"/>
                <a:gd name="T10" fmla="*/ 46 w 546"/>
                <a:gd name="T11" fmla="*/ 429 h 610"/>
                <a:gd name="T12" fmla="*/ 17 w 546"/>
                <a:gd name="T13" fmla="*/ 388 h 610"/>
                <a:gd name="T14" fmla="*/ 4 w 546"/>
                <a:gd name="T15" fmla="*/ 351 h 610"/>
                <a:gd name="T16" fmla="*/ 1 w 546"/>
                <a:gd name="T17" fmla="*/ 307 h 610"/>
                <a:gd name="T18" fmla="*/ 10 w 546"/>
                <a:gd name="T19" fmla="*/ 263 h 610"/>
                <a:gd name="T20" fmla="*/ 34 w 546"/>
                <a:gd name="T21" fmla="*/ 220 h 610"/>
                <a:gd name="T22" fmla="*/ 68 w 546"/>
                <a:gd name="T23" fmla="*/ 182 h 610"/>
                <a:gd name="T24" fmla="*/ 101 w 546"/>
                <a:gd name="T25" fmla="*/ 156 h 610"/>
                <a:gd name="T26" fmla="*/ 165 w 546"/>
                <a:gd name="T27" fmla="*/ 123 h 610"/>
                <a:gd name="T28" fmla="*/ 271 w 546"/>
                <a:gd name="T29" fmla="*/ 90 h 610"/>
                <a:gd name="T30" fmla="*/ 366 w 546"/>
                <a:gd name="T31" fmla="*/ 61 h 610"/>
                <a:gd name="T32" fmla="*/ 465 w 546"/>
                <a:gd name="T33" fmla="*/ 6 h 610"/>
                <a:gd name="T34" fmla="*/ 485 w 546"/>
                <a:gd name="T35" fmla="*/ 0 h 610"/>
                <a:gd name="T36" fmla="*/ 506 w 546"/>
                <a:gd name="T37" fmla="*/ 7 h 610"/>
                <a:gd name="T38" fmla="*/ 520 w 546"/>
                <a:gd name="T39" fmla="*/ 33 h 610"/>
                <a:gd name="T40" fmla="*/ 538 w 546"/>
                <a:gd name="T41" fmla="*/ 96 h 610"/>
                <a:gd name="T42" fmla="*/ 546 w 546"/>
                <a:gd name="T43" fmla="*/ 183 h 610"/>
                <a:gd name="T44" fmla="*/ 531 w 546"/>
                <a:gd name="T45" fmla="*/ 327 h 610"/>
                <a:gd name="T46" fmla="*/ 488 w 546"/>
                <a:gd name="T47" fmla="*/ 453 h 610"/>
                <a:gd name="T48" fmla="*/ 451 w 546"/>
                <a:gd name="T49" fmla="*/ 513 h 610"/>
                <a:gd name="T50" fmla="*/ 401 w 546"/>
                <a:gd name="T51" fmla="*/ 560 h 610"/>
                <a:gd name="T52" fmla="*/ 334 w 546"/>
                <a:gd name="T53" fmla="*/ 598 h 610"/>
                <a:gd name="T54" fmla="*/ 289 w 546"/>
                <a:gd name="T55" fmla="*/ 609 h 610"/>
                <a:gd name="T56" fmla="*/ 139 w 546"/>
                <a:gd name="T57" fmla="*/ 212 h 610"/>
                <a:gd name="T58" fmla="*/ 96 w 546"/>
                <a:gd name="T59" fmla="*/ 249 h 610"/>
                <a:gd name="T60" fmla="*/ 67 w 546"/>
                <a:gd name="T61" fmla="*/ 304 h 610"/>
                <a:gd name="T62" fmla="*/ 68 w 546"/>
                <a:gd name="T63" fmla="*/ 334 h 610"/>
                <a:gd name="T64" fmla="*/ 81 w 546"/>
                <a:gd name="T65" fmla="*/ 365 h 610"/>
                <a:gd name="T66" fmla="*/ 126 w 546"/>
                <a:gd name="T67" fmla="*/ 413 h 610"/>
                <a:gd name="T68" fmla="*/ 146 w 546"/>
                <a:gd name="T69" fmla="*/ 428 h 610"/>
                <a:gd name="T70" fmla="*/ 160 w 546"/>
                <a:gd name="T71" fmla="*/ 458 h 610"/>
                <a:gd name="T72" fmla="*/ 207 w 546"/>
                <a:gd name="T73" fmla="*/ 522 h 610"/>
                <a:gd name="T74" fmla="*/ 235 w 546"/>
                <a:gd name="T75" fmla="*/ 539 h 610"/>
                <a:gd name="T76" fmla="*/ 259 w 546"/>
                <a:gd name="T77" fmla="*/ 544 h 610"/>
                <a:gd name="T78" fmla="*/ 299 w 546"/>
                <a:gd name="T79" fmla="*/ 540 h 610"/>
                <a:gd name="T80" fmla="*/ 347 w 546"/>
                <a:gd name="T81" fmla="*/ 517 h 610"/>
                <a:gd name="T82" fmla="*/ 395 w 546"/>
                <a:gd name="T83" fmla="*/ 477 h 610"/>
                <a:gd name="T84" fmla="*/ 440 w 546"/>
                <a:gd name="T85" fmla="*/ 404 h 610"/>
                <a:gd name="T86" fmla="*/ 469 w 546"/>
                <a:gd name="T87" fmla="*/ 302 h 610"/>
                <a:gd name="T88" fmla="*/ 480 w 546"/>
                <a:gd name="T89" fmla="*/ 189 h 610"/>
                <a:gd name="T90" fmla="*/ 468 w 546"/>
                <a:gd name="T91" fmla="*/ 84 h 610"/>
                <a:gd name="T92" fmla="*/ 397 w 546"/>
                <a:gd name="T93" fmla="*/ 120 h 610"/>
                <a:gd name="T94" fmla="*/ 288 w 546"/>
                <a:gd name="T95" fmla="*/ 154 h 610"/>
                <a:gd name="T96" fmla="*/ 211 w 546"/>
                <a:gd name="T97" fmla="*/ 176 h 610"/>
                <a:gd name="T98" fmla="*/ 139 w 546"/>
                <a:gd name="T99" fmla="*/ 21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6" h="610">
                  <a:moveTo>
                    <a:pt x="266" y="610"/>
                  </a:moveTo>
                  <a:lnTo>
                    <a:pt x="266" y="610"/>
                  </a:lnTo>
                  <a:lnTo>
                    <a:pt x="251" y="610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20" y="604"/>
                  </a:lnTo>
                  <a:lnTo>
                    <a:pt x="203" y="597"/>
                  </a:lnTo>
                  <a:lnTo>
                    <a:pt x="193" y="593"/>
                  </a:lnTo>
                  <a:lnTo>
                    <a:pt x="184" y="587"/>
                  </a:lnTo>
                  <a:lnTo>
                    <a:pt x="175" y="580"/>
                  </a:lnTo>
                  <a:lnTo>
                    <a:pt x="164" y="573"/>
                  </a:lnTo>
                  <a:lnTo>
                    <a:pt x="155" y="565"/>
                  </a:lnTo>
                  <a:lnTo>
                    <a:pt x="146" y="556"/>
                  </a:lnTo>
                  <a:lnTo>
                    <a:pt x="136" y="544"/>
                  </a:lnTo>
                  <a:lnTo>
                    <a:pt x="127" y="533"/>
                  </a:lnTo>
                  <a:lnTo>
                    <a:pt x="118" y="519"/>
                  </a:lnTo>
                  <a:lnTo>
                    <a:pt x="110" y="504"/>
                  </a:lnTo>
                  <a:lnTo>
                    <a:pt x="101" y="488"/>
                  </a:lnTo>
                  <a:lnTo>
                    <a:pt x="93" y="471"/>
                  </a:lnTo>
                  <a:lnTo>
                    <a:pt x="93" y="471"/>
                  </a:lnTo>
                  <a:lnTo>
                    <a:pt x="80" y="460"/>
                  </a:lnTo>
                  <a:lnTo>
                    <a:pt x="67" y="450"/>
                  </a:lnTo>
                  <a:lnTo>
                    <a:pt x="56" y="440"/>
                  </a:lnTo>
                  <a:lnTo>
                    <a:pt x="46" y="429"/>
                  </a:lnTo>
                  <a:lnTo>
                    <a:pt x="37" y="419"/>
                  </a:lnTo>
                  <a:lnTo>
                    <a:pt x="30" y="409"/>
                  </a:lnTo>
                  <a:lnTo>
                    <a:pt x="24" y="398"/>
                  </a:lnTo>
                  <a:lnTo>
                    <a:pt x="17" y="388"/>
                  </a:lnTo>
                  <a:lnTo>
                    <a:pt x="13" y="379"/>
                  </a:lnTo>
                  <a:lnTo>
                    <a:pt x="9" y="369"/>
                  </a:lnTo>
                  <a:lnTo>
                    <a:pt x="6" y="360"/>
                  </a:lnTo>
                  <a:lnTo>
                    <a:pt x="4" y="351"/>
                  </a:lnTo>
                  <a:lnTo>
                    <a:pt x="1" y="333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1" y="307"/>
                  </a:lnTo>
                  <a:lnTo>
                    <a:pt x="2" y="296"/>
                  </a:lnTo>
                  <a:lnTo>
                    <a:pt x="4" y="284"/>
                  </a:lnTo>
                  <a:lnTo>
                    <a:pt x="7" y="274"/>
                  </a:lnTo>
                  <a:lnTo>
                    <a:pt x="10" y="263"/>
                  </a:lnTo>
                  <a:lnTo>
                    <a:pt x="15" y="252"/>
                  </a:lnTo>
                  <a:lnTo>
                    <a:pt x="21" y="241"/>
                  </a:lnTo>
                  <a:lnTo>
                    <a:pt x="27" y="231"/>
                  </a:lnTo>
                  <a:lnTo>
                    <a:pt x="34" y="220"/>
                  </a:lnTo>
                  <a:lnTo>
                    <a:pt x="41" y="211"/>
                  </a:lnTo>
                  <a:lnTo>
                    <a:pt x="50" y="201"/>
                  </a:lnTo>
                  <a:lnTo>
                    <a:pt x="59" y="191"/>
                  </a:lnTo>
                  <a:lnTo>
                    <a:pt x="68" y="182"/>
                  </a:lnTo>
                  <a:lnTo>
                    <a:pt x="79" y="174"/>
                  </a:lnTo>
                  <a:lnTo>
                    <a:pt x="90" y="164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23" y="144"/>
                  </a:lnTo>
                  <a:lnTo>
                    <a:pt x="144" y="132"/>
                  </a:lnTo>
                  <a:lnTo>
                    <a:pt x="165" y="123"/>
                  </a:lnTo>
                  <a:lnTo>
                    <a:pt x="186" y="115"/>
                  </a:lnTo>
                  <a:lnTo>
                    <a:pt x="208" y="107"/>
                  </a:lnTo>
                  <a:lnTo>
                    <a:pt x="229" y="101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318" y="77"/>
                  </a:lnTo>
                  <a:lnTo>
                    <a:pt x="341" y="69"/>
                  </a:lnTo>
                  <a:lnTo>
                    <a:pt x="366" y="61"/>
                  </a:lnTo>
                  <a:lnTo>
                    <a:pt x="390" y="51"/>
                  </a:lnTo>
                  <a:lnTo>
                    <a:pt x="415" y="38"/>
                  </a:lnTo>
                  <a:lnTo>
                    <a:pt x="440" y="24"/>
                  </a:lnTo>
                  <a:lnTo>
                    <a:pt x="465" y="6"/>
                  </a:lnTo>
                  <a:lnTo>
                    <a:pt x="465" y="6"/>
                  </a:lnTo>
                  <a:lnTo>
                    <a:pt x="471" y="3"/>
                  </a:lnTo>
                  <a:lnTo>
                    <a:pt x="478" y="1"/>
                  </a:lnTo>
                  <a:lnTo>
                    <a:pt x="485" y="0"/>
                  </a:lnTo>
                  <a:lnTo>
                    <a:pt x="492" y="1"/>
                  </a:lnTo>
                  <a:lnTo>
                    <a:pt x="492" y="1"/>
                  </a:lnTo>
                  <a:lnTo>
                    <a:pt x="500" y="3"/>
                  </a:lnTo>
                  <a:lnTo>
                    <a:pt x="506" y="7"/>
                  </a:lnTo>
                  <a:lnTo>
                    <a:pt x="511" y="12"/>
                  </a:lnTo>
                  <a:lnTo>
                    <a:pt x="514" y="19"/>
                  </a:lnTo>
                  <a:lnTo>
                    <a:pt x="514" y="19"/>
                  </a:lnTo>
                  <a:lnTo>
                    <a:pt x="520" y="33"/>
                  </a:lnTo>
                  <a:lnTo>
                    <a:pt x="526" y="49"/>
                  </a:lnTo>
                  <a:lnTo>
                    <a:pt x="531" y="63"/>
                  </a:lnTo>
                  <a:lnTo>
                    <a:pt x="535" y="80"/>
                  </a:lnTo>
                  <a:lnTo>
                    <a:pt x="538" y="96"/>
                  </a:lnTo>
                  <a:lnTo>
                    <a:pt x="541" y="113"/>
                  </a:lnTo>
                  <a:lnTo>
                    <a:pt x="543" y="129"/>
                  </a:lnTo>
                  <a:lnTo>
                    <a:pt x="545" y="147"/>
                  </a:lnTo>
                  <a:lnTo>
                    <a:pt x="546" y="183"/>
                  </a:lnTo>
                  <a:lnTo>
                    <a:pt x="545" y="218"/>
                  </a:lnTo>
                  <a:lnTo>
                    <a:pt x="543" y="255"/>
                  </a:lnTo>
                  <a:lnTo>
                    <a:pt x="538" y="291"/>
                  </a:lnTo>
                  <a:lnTo>
                    <a:pt x="531" y="327"/>
                  </a:lnTo>
                  <a:lnTo>
                    <a:pt x="522" y="361"/>
                  </a:lnTo>
                  <a:lnTo>
                    <a:pt x="513" y="394"/>
                  </a:lnTo>
                  <a:lnTo>
                    <a:pt x="502" y="425"/>
                  </a:lnTo>
                  <a:lnTo>
                    <a:pt x="488" y="453"/>
                  </a:lnTo>
                  <a:lnTo>
                    <a:pt x="475" y="480"/>
                  </a:lnTo>
                  <a:lnTo>
                    <a:pt x="468" y="491"/>
                  </a:lnTo>
                  <a:lnTo>
                    <a:pt x="459" y="503"/>
                  </a:lnTo>
                  <a:lnTo>
                    <a:pt x="451" y="513"/>
                  </a:lnTo>
                  <a:lnTo>
                    <a:pt x="443" y="522"/>
                  </a:lnTo>
                  <a:lnTo>
                    <a:pt x="443" y="522"/>
                  </a:lnTo>
                  <a:lnTo>
                    <a:pt x="422" y="542"/>
                  </a:lnTo>
                  <a:lnTo>
                    <a:pt x="401" y="560"/>
                  </a:lnTo>
                  <a:lnTo>
                    <a:pt x="379" y="575"/>
                  </a:lnTo>
                  <a:lnTo>
                    <a:pt x="357" y="588"/>
                  </a:lnTo>
                  <a:lnTo>
                    <a:pt x="346" y="593"/>
                  </a:lnTo>
                  <a:lnTo>
                    <a:pt x="334" y="598"/>
                  </a:lnTo>
                  <a:lnTo>
                    <a:pt x="323" y="601"/>
                  </a:lnTo>
                  <a:lnTo>
                    <a:pt x="311" y="605"/>
                  </a:lnTo>
                  <a:lnTo>
                    <a:pt x="300" y="607"/>
                  </a:lnTo>
                  <a:lnTo>
                    <a:pt x="289" y="609"/>
                  </a:lnTo>
                  <a:lnTo>
                    <a:pt x="277" y="610"/>
                  </a:lnTo>
                  <a:lnTo>
                    <a:pt x="266" y="610"/>
                  </a:lnTo>
                  <a:lnTo>
                    <a:pt x="266" y="610"/>
                  </a:lnTo>
                  <a:close/>
                  <a:moveTo>
                    <a:pt x="139" y="212"/>
                  </a:moveTo>
                  <a:lnTo>
                    <a:pt x="139" y="212"/>
                  </a:lnTo>
                  <a:lnTo>
                    <a:pt x="122" y="223"/>
                  </a:lnTo>
                  <a:lnTo>
                    <a:pt x="107" y="236"/>
                  </a:lnTo>
                  <a:lnTo>
                    <a:pt x="96" y="249"/>
                  </a:lnTo>
                  <a:lnTo>
                    <a:pt x="86" y="263"/>
                  </a:lnTo>
                  <a:lnTo>
                    <a:pt x="77" y="276"/>
                  </a:lnTo>
                  <a:lnTo>
                    <a:pt x="71" y="291"/>
                  </a:lnTo>
                  <a:lnTo>
                    <a:pt x="67" y="304"/>
                  </a:lnTo>
                  <a:lnTo>
                    <a:pt x="66" y="319"/>
                  </a:lnTo>
                  <a:lnTo>
                    <a:pt x="66" y="319"/>
                  </a:lnTo>
                  <a:lnTo>
                    <a:pt x="66" y="327"/>
                  </a:lnTo>
                  <a:lnTo>
                    <a:pt x="68" y="334"/>
                  </a:lnTo>
                  <a:lnTo>
                    <a:pt x="70" y="342"/>
                  </a:lnTo>
                  <a:lnTo>
                    <a:pt x="72" y="350"/>
                  </a:lnTo>
                  <a:lnTo>
                    <a:pt x="76" y="358"/>
                  </a:lnTo>
                  <a:lnTo>
                    <a:pt x="81" y="365"/>
                  </a:lnTo>
                  <a:lnTo>
                    <a:pt x="90" y="379"/>
                  </a:lnTo>
                  <a:lnTo>
                    <a:pt x="101" y="391"/>
                  </a:lnTo>
                  <a:lnTo>
                    <a:pt x="113" y="402"/>
                  </a:lnTo>
                  <a:lnTo>
                    <a:pt x="126" y="413"/>
                  </a:lnTo>
                  <a:lnTo>
                    <a:pt x="139" y="421"/>
                  </a:lnTo>
                  <a:lnTo>
                    <a:pt x="139" y="421"/>
                  </a:lnTo>
                  <a:lnTo>
                    <a:pt x="142" y="424"/>
                  </a:lnTo>
                  <a:lnTo>
                    <a:pt x="146" y="428"/>
                  </a:lnTo>
                  <a:lnTo>
                    <a:pt x="148" y="432"/>
                  </a:lnTo>
                  <a:lnTo>
                    <a:pt x="151" y="437"/>
                  </a:lnTo>
                  <a:lnTo>
                    <a:pt x="151" y="437"/>
                  </a:lnTo>
                  <a:lnTo>
                    <a:pt x="160" y="458"/>
                  </a:lnTo>
                  <a:lnTo>
                    <a:pt x="171" y="479"/>
                  </a:lnTo>
                  <a:lnTo>
                    <a:pt x="182" y="496"/>
                  </a:lnTo>
                  <a:lnTo>
                    <a:pt x="194" y="510"/>
                  </a:lnTo>
                  <a:lnTo>
                    <a:pt x="207" y="522"/>
                  </a:lnTo>
                  <a:lnTo>
                    <a:pt x="214" y="528"/>
                  </a:lnTo>
                  <a:lnTo>
                    <a:pt x="220" y="532"/>
                  </a:lnTo>
                  <a:lnTo>
                    <a:pt x="228" y="536"/>
                  </a:lnTo>
                  <a:lnTo>
                    <a:pt x="235" y="539"/>
                  </a:lnTo>
                  <a:lnTo>
                    <a:pt x="242" y="541"/>
                  </a:lnTo>
                  <a:lnTo>
                    <a:pt x="249" y="543"/>
                  </a:lnTo>
                  <a:lnTo>
                    <a:pt x="249" y="543"/>
                  </a:lnTo>
                  <a:lnTo>
                    <a:pt x="259" y="544"/>
                  </a:lnTo>
                  <a:lnTo>
                    <a:pt x="269" y="544"/>
                  </a:lnTo>
                  <a:lnTo>
                    <a:pt x="278" y="544"/>
                  </a:lnTo>
                  <a:lnTo>
                    <a:pt x="289" y="542"/>
                  </a:lnTo>
                  <a:lnTo>
                    <a:pt x="299" y="540"/>
                  </a:lnTo>
                  <a:lnTo>
                    <a:pt x="308" y="537"/>
                  </a:lnTo>
                  <a:lnTo>
                    <a:pt x="319" y="533"/>
                  </a:lnTo>
                  <a:lnTo>
                    <a:pt x="328" y="528"/>
                  </a:lnTo>
                  <a:lnTo>
                    <a:pt x="347" y="517"/>
                  </a:lnTo>
                  <a:lnTo>
                    <a:pt x="364" y="505"/>
                  </a:lnTo>
                  <a:lnTo>
                    <a:pt x="381" y="490"/>
                  </a:lnTo>
                  <a:lnTo>
                    <a:pt x="395" y="477"/>
                  </a:lnTo>
                  <a:lnTo>
                    <a:pt x="395" y="477"/>
                  </a:lnTo>
                  <a:lnTo>
                    <a:pt x="408" y="462"/>
                  </a:lnTo>
                  <a:lnTo>
                    <a:pt x="419" y="445"/>
                  </a:lnTo>
                  <a:lnTo>
                    <a:pt x="429" y="425"/>
                  </a:lnTo>
                  <a:lnTo>
                    <a:pt x="440" y="404"/>
                  </a:lnTo>
                  <a:lnTo>
                    <a:pt x="448" y="381"/>
                  </a:lnTo>
                  <a:lnTo>
                    <a:pt x="456" y="356"/>
                  </a:lnTo>
                  <a:lnTo>
                    <a:pt x="463" y="330"/>
                  </a:lnTo>
                  <a:lnTo>
                    <a:pt x="469" y="302"/>
                  </a:lnTo>
                  <a:lnTo>
                    <a:pt x="474" y="274"/>
                  </a:lnTo>
                  <a:lnTo>
                    <a:pt x="477" y="246"/>
                  </a:lnTo>
                  <a:lnTo>
                    <a:pt x="480" y="218"/>
                  </a:lnTo>
                  <a:lnTo>
                    <a:pt x="480" y="189"/>
                  </a:lnTo>
                  <a:lnTo>
                    <a:pt x="480" y="162"/>
                  </a:lnTo>
                  <a:lnTo>
                    <a:pt x="477" y="134"/>
                  </a:lnTo>
                  <a:lnTo>
                    <a:pt x="474" y="109"/>
                  </a:lnTo>
                  <a:lnTo>
                    <a:pt x="468" y="84"/>
                  </a:lnTo>
                  <a:lnTo>
                    <a:pt x="468" y="84"/>
                  </a:lnTo>
                  <a:lnTo>
                    <a:pt x="444" y="98"/>
                  </a:lnTo>
                  <a:lnTo>
                    <a:pt x="420" y="110"/>
                  </a:lnTo>
                  <a:lnTo>
                    <a:pt x="397" y="120"/>
                  </a:lnTo>
                  <a:lnTo>
                    <a:pt x="374" y="128"/>
                  </a:lnTo>
                  <a:lnTo>
                    <a:pt x="352" y="136"/>
                  </a:lnTo>
                  <a:lnTo>
                    <a:pt x="330" y="143"/>
                  </a:lnTo>
                  <a:lnTo>
                    <a:pt x="288" y="154"/>
                  </a:lnTo>
                  <a:lnTo>
                    <a:pt x="288" y="154"/>
                  </a:lnTo>
                  <a:lnTo>
                    <a:pt x="248" y="164"/>
                  </a:lnTo>
                  <a:lnTo>
                    <a:pt x="230" y="170"/>
                  </a:lnTo>
                  <a:lnTo>
                    <a:pt x="211" y="176"/>
                  </a:lnTo>
                  <a:lnTo>
                    <a:pt x="192" y="183"/>
                  </a:lnTo>
                  <a:lnTo>
                    <a:pt x="174" y="191"/>
                  </a:lnTo>
                  <a:lnTo>
                    <a:pt x="156" y="201"/>
                  </a:lnTo>
                  <a:lnTo>
                    <a:pt x="139" y="212"/>
                  </a:lnTo>
                  <a:lnTo>
                    <a:pt x="139" y="21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0">
              <a:extLst>
                <a:ext uri="{FF2B5EF4-FFF2-40B4-BE49-F238E27FC236}">
                  <a16:creationId xmlns:a16="http://schemas.microsoft.com/office/drawing/2014/main" id="{19687835-9AA0-46DD-90F6-28457F082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4550" y="1825625"/>
              <a:ext cx="161925" cy="190500"/>
            </a:xfrm>
            <a:custGeom>
              <a:avLst/>
              <a:gdLst>
                <a:gd name="T0" fmla="*/ 320 w 718"/>
                <a:gd name="T1" fmla="*/ 840 h 842"/>
                <a:gd name="T2" fmla="*/ 262 w 718"/>
                <a:gd name="T3" fmla="*/ 822 h 842"/>
                <a:gd name="T4" fmla="*/ 203 w 718"/>
                <a:gd name="T5" fmla="*/ 787 h 842"/>
                <a:gd name="T6" fmla="*/ 145 w 718"/>
                <a:gd name="T7" fmla="*/ 735 h 842"/>
                <a:gd name="T8" fmla="*/ 105 w 718"/>
                <a:gd name="T9" fmla="*/ 690 h 842"/>
                <a:gd name="T10" fmla="*/ 67 w 718"/>
                <a:gd name="T11" fmla="*/ 625 h 842"/>
                <a:gd name="T12" fmla="*/ 37 w 718"/>
                <a:gd name="T13" fmla="*/ 547 h 842"/>
                <a:gd name="T14" fmla="*/ 15 w 718"/>
                <a:gd name="T15" fmla="*/ 456 h 842"/>
                <a:gd name="T16" fmla="*/ 3 w 718"/>
                <a:gd name="T17" fmla="*/ 359 h 842"/>
                <a:gd name="T18" fmla="*/ 1 w 718"/>
                <a:gd name="T19" fmla="*/ 261 h 842"/>
                <a:gd name="T20" fmla="*/ 10 w 718"/>
                <a:gd name="T21" fmla="*/ 166 h 842"/>
                <a:gd name="T22" fmla="*/ 32 w 718"/>
                <a:gd name="T23" fmla="*/ 77 h 842"/>
                <a:gd name="T24" fmla="*/ 57 w 718"/>
                <a:gd name="T25" fmla="*/ 18 h 842"/>
                <a:gd name="T26" fmla="*/ 80 w 718"/>
                <a:gd name="T27" fmla="*/ 1 h 842"/>
                <a:gd name="T28" fmla="*/ 101 w 718"/>
                <a:gd name="T29" fmla="*/ 5 h 842"/>
                <a:gd name="T30" fmla="*/ 138 w 718"/>
                <a:gd name="T31" fmla="*/ 31 h 842"/>
                <a:gd name="T32" fmla="*/ 202 w 718"/>
                <a:gd name="T33" fmla="*/ 70 h 842"/>
                <a:gd name="T34" fmla="*/ 333 w 718"/>
                <a:gd name="T35" fmla="*/ 119 h 842"/>
                <a:gd name="T36" fmla="*/ 439 w 718"/>
                <a:gd name="T37" fmla="*/ 152 h 842"/>
                <a:gd name="T38" fmla="*/ 523 w 718"/>
                <a:gd name="T39" fmla="*/ 188 h 842"/>
                <a:gd name="T40" fmla="*/ 585 w 718"/>
                <a:gd name="T41" fmla="*/ 228 h 842"/>
                <a:gd name="T42" fmla="*/ 627 w 718"/>
                <a:gd name="T43" fmla="*/ 269 h 842"/>
                <a:gd name="T44" fmla="*/ 664 w 718"/>
                <a:gd name="T45" fmla="*/ 317 h 842"/>
                <a:gd name="T46" fmla="*/ 698 w 718"/>
                <a:gd name="T47" fmla="*/ 380 h 842"/>
                <a:gd name="T48" fmla="*/ 715 w 718"/>
                <a:gd name="T49" fmla="*/ 440 h 842"/>
                <a:gd name="T50" fmla="*/ 716 w 718"/>
                <a:gd name="T51" fmla="*/ 498 h 842"/>
                <a:gd name="T52" fmla="*/ 705 w 718"/>
                <a:gd name="T53" fmla="*/ 537 h 842"/>
                <a:gd name="T54" fmla="*/ 678 w 718"/>
                <a:gd name="T55" fmla="*/ 585 h 842"/>
                <a:gd name="T56" fmla="*/ 635 w 718"/>
                <a:gd name="T57" fmla="*/ 628 h 842"/>
                <a:gd name="T58" fmla="*/ 577 w 718"/>
                <a:gd name="T59" fmla="*/ 667 h 842"/>
                <a:gd name="T60" fmla="*/ 534 w 718"/>
                <a:gd name="T61" fmla="*/ 701 h 842"/>
                <a:gd name="T62" fmla="*/ 498 w 718"/>
                <a:gd name="T63" fmla="*/ 760 h 842"/>
                <a:gd name="T64" fmla="*/ 455 w 718"/>
                <a:gd name="T65" fmla="*/ 802 h 842"/>
                <a:gd name="T66" fmla="*/ 409 w 718"/>
                <a:gd name="T67" fmla="*/ 830 h 842"/>
                <a:gd name="T68" fmla="*/ 371 w 718"/>
                <a:gd name="T69" fmla="*/ 840 h 842"/>
                <a:gd name="T70" fmla="*/ 99 w 718"/>
                <a:gd name="T71" fmla="*/ 85 h 842"/>
                <a:gd name="T72" fmla="*/ 83 w 718"/>
                <a:gd name="T73" fmla="*/ 138 h 842"/>
                <a:gd name="T74" fmla="*/ 68 w 718"/>
                <a:gd name="T75" fmla="*/ 235 h 842"/>
                <a:gd name="T76" fmla="*/ 72 w 718"/>
                <a:gd name="T77" fmla="*/ 399 h 842"/>
                <a:gd name="T78" fmla="*/ 107 w 718"/>
                <a:gd name="T79" fmla="*/ 550 h 842"/>
                <a:gd name="T80" fmla="*/ 142 w 718"/>
                <a:gd name="T81" fmla="*/ 625 h 842"/>
                <a:gd name="T82" fmla="*/ 165 w 718"/>
                <a:gd name="T83" fmla="*/ 661 h 842"/>
                <a:gd name="T84" fmla="*/ 217 w 718"/>
                <a:gd name="T85" fmla="*/ 713 h 842"/>
                <a:gd name="T86" fmla="*/ 269 w 718"/>
                <a:gd name="T87" fmla="*/ 751 h 842"/>
                <a:gd name="T88" fmla="*/ 317 w 718"/>
                <a:gd name="T89" fmla="*/ 771 h 842"/>
                <a:gd name="T90" fmla="*/ 362 w 718"/>
                <a:gd name="T91" fmla="*/ 774 h 842"/>
                <a:gd name="T92" fmla="*/ 388 w 718"/>
                <a:gd name="T93" fmla="*/ 767 h 842"/>
                <a:gd name="T94" fmla="*/ 422 w 718"/>
                <a:gd name="T95" fmla="*/ 744 h 842"/>
                <a:gd name="T96" fmla="*/ 460 w 718"/>
                <a:gd name="T97" fmla="*/ 698 h 842"/>
                <a:gd name="T98" fmla="*/ 490 w 718"/>
                <a:gd name="T99" fmla="*/ 640 h 842"/>
                <a:gd name="T100" fmla="*/ 505 w 718"/>
                <a:gd name="T101" fmla="*/ 628 h 842"/>
                <a:gd name="T102" fmla="*/ 594 w 718"/>
                <a:gd name="T103" fmla="*/ 577 h 842"/>
                <a:gd name="T104" fmla="*/ 627 w 718"/>
                <a:gd name="T105" fmla="*/ 543 h 842"/>
                <a:gd name="T106" fmla="*/ 646 w 718"/>
                <a:gd name="T107" fmla="*/ 506 h 842"/>
                <a:gd name="T108" fmla="*/ 652 w 718"/>
                <a:gd name="T109" fmla="*/ 472 h 842"/>
                <a:gd name="T110" fmla="*/ 643 w 718"/>
                <a:gd name="T111" fmla="*/ 423 h 842"/>
                <a:gd name="T112" fmla="*/ 622 w 718"/>
                <a:gd name="T113" fmla="*/ 374 h 842"/>
                <a:gd name="T114" fmla="*/ 576 w 718"/>
                <a:gd name="T115" fmla="*/ 312 h 842"/>
                <a:gd name="T116" fmla="*/ 542 w 718"/>
                <a:gd name="T117" fmla="*/ 279 h 842"/>
                <a:gd name="T118" fmla="*/ 489 w 718"/>
                <a:gd name="T119" fmla="*/ 245 h 842"/>
                <a:gd name="T120" fmla="*/ 381 w 718"/>
                <a:gd name="T121" fmla="*/ 203 h 842"/>
                <a:gd name="T122" fmla="*/ 255 w 718"/>
                <a:gd name="T123" fmla="*/ 164 h 842"/>
                <a:gd name="T124" fmla="*/ 130 w 718"/>
                <a:gd name="T125" fmla="*/ 106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18" h="842">
                  <a:moveTo>
                    <a:pt x="347" y="842"/>
                  </a:moveTo>
                  <a:lnTo>
                    <a:pt x="347" y="842"/>
                  </a:lnTo>
                  <a:lnTo>
                    <a:pt x="334" y="841"/>
                  </a:lnTo>
                  <a:lnTo>
                    <a:pt x="320" y="840"/>
                  </a:lnTo>
                  <a:lnTo>
                    <a:pt x="305" y="836"/>
                  </a:lnTo>
                  <a:lnTo>
                    <a:pt x="291" y="832"/>
                  </a:lnTo>
                  <a:lnTo>
                    <a:pt x="276" y="827"/>
                  </a:lnTo>
                  <a:lnTo>
                    <a:pt x="262" y="822"/>
                  </a:lnTo>
                  <a:lnTo>
                    <a:pt x="247" y="815"/>
                  </a:lnTo>
                  <a:lnTo>
                    <a:pt x="233" y="806"/>
                  </a:lnTo>
                  <a:lnTo>
                    <a:pt x="217" y="797"/>
                  </a:lnTo>
                  <a:lnTo>
                    <a:pt x="203" y="787"/>
                  </a:lnTo>
                  <a:lnTo>
                    <a:pt x="188" y="775"/>
                  </a:lnTo>
                  <a:lnTo>
                    <a:pt x="174" y="763"/>
                  </a:lnTo>
                  <a:lnTo>
                    <a:pt x="159" y="750"/>
                  </a:lnTo>
                  <a:lnTo>
                    <a:pt x="145" y="735"/>
                  </a:lnTo>
                  <a:lnTo>
                    <a:pt x="130" y="720"/>
                  </a:lnTo>
                  <a:lnTo>
                    <a:pt x="116" y="703"/>
                  </a:lnTo>
                  <a:lnTo>
                    <a:pt x="116" y="703"/>
                  </a:lnTo>
                  <a:lnTo>
                    <a:pt x="105" y="690"/>
                  </a:lnTo>
                  <a:lnTo>
                    <a:pt x="95" y="676"/>
                  </a:lnTo>
                  <a:lnTo>
                    <a:pt x="86" y="661"/>
                  </a:lnTo>
                  <a:lnTo>
                    <a:pt x="76" y="643"/>
                  </a:lnTo>
                  <a:lnTo>
                    <a:pt x="67" y="625"/>
                  </a:lnTo>
                  <a:lnTo>
                    <a:pt x="59" y="607"/>
                  </a:lnTo>
                  <a:lnTo>
                    <a:pt x="52" y="588"/>
                  </a:lnTo>
                  <a:lnTo>
                    <a:pt x="44" y="567"/>
                  </a:lnTo>
                  <a:lnTo>
                    <a:pt x="37" y="547"/>
                  </a:lnTo>
                  <a:lnTo>
                    <a:pt x="31" y="525"/>
                  </a:lnTo>
                  <a:lnTo>
                    <a:pt x="25" y="502"/>
                  </a:lnTo>
                  <a:lnTo>
                    <a:pt x="19" y="479"/>
                  </a:lnTo>
                  <a:lnTo>
                    <a:pt x="15" y="456"/>
                  </a:lnTo>
                  <a:lnTo>
                    <a:pt x="11" y="432"/>
                  </a:lnTo>
                  <a:lnTo>
                    <a:pt x="8" y="408"/>
                  </a:lnTo>
                  <a:lnTo>
                    <a:pt x="5" y="384"/>
                  </a:lnTo>
                  <a:lnTo>
                    <a:pt x="3" y="359"/>
                  </a:lnTo>
                  <a:lnTo>
                    <a:pt x="1" y="335"/>
                  </a:lnTo>
                  <a:lnTo>
                    <a:pt x="1" y="310"/>
                  </a:lnTo>
                  <a:lnTo>
                    <a:pt x="0" y="286"/>
                  </a:lnTo>
                  <a:lnTo>
                    <a:pt x="1" y="261"/>
                  </a:lnTo>
                  <a:lnTo>
                    <a:pt x="2" y="236"/>
                  </a:lnTo>
                  <a:lnTo>
                    <a:pt x="4" y="213"/>
                  </a:lnTo>
                  <a:lnTo>
                    <a:pt x="7" y="189"/>
                  </a:lnTo>
                  <a:lnTo>
                    <a:pt x="10" y="166"/>
                  </a:lnTo>
                  <a:lnTo>
                    <a:pt x="14" y="142"/>
                  </a:lnTo>
                  <a:lnTo>
                    <a:pt x="19" y="120"/>
                  </a:lnTo>
                  <a:lnTo>
                    <a:pt x="26" y="99"/>
                  </a:lnTo>
                  <a:lnTo>
                    <a:pt x="32" y="77"/>
                  </a:lnTo>
                  <a:lnTo>
                    <a:pt x="39" y="56"/>
                  </a:lnTo>
                  <a:lnTo>
                    <a:pt x="47" y="3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61" y="12"/>
                  </a:lnTo>
                  <a:lnTo>
                    <a:pt x="67" y="7"/>
                  </a:lnTo>
                  <a:lnTo>
                    <a:pt x="73" y="3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8" y="0"/>
                  </a:lnTo>
                  <a:lnTo>
                    <a:pt x="95" y="1"/>
                  </a:lnTo>
                  <a:lnTo>
                    <a:pt x="101" y="5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23" y="21"/>
                  </a:lnTo>
                  <a:lnTo>
                    <a:pt x="138" y="31"/>
                  </a:lnTo>
                  <a:lnTo>
                    <a:pt x="154" y="43"/>
                  </a:lnTo>
                  <a:lnTo>
                    <a:pt x="169" y="52"/>
                  </a:lnTo>
                  <a:lnTo>
                    <a:pt x="185" y="61"/>
                  </a:lnTo>
                  <a:lnTo>
                    <a:pt x="202" y="70"/>
                  </a:lnTo>
                  <a:lnTo>
                    <a:pt x="234" y="84"/>
                  </a:lnTo>
                  <a:lnTo>
                    <a:pt x="267" y="98"/>
                  </a:lnTo>
                  <a:lnTo>
                    <a:pt x="300" y="109"/>
                  </a:lnTo>
                  <a:lnTo>
                    <a:pt x="333" y="119"/>
                  </a:lnTo>
                  <a:lnTo>
                    <a:pt x="366" y="130"/>
                  </a:lnTo>
                  <a:lnTo>
                    <a:pt x="366" y="130"/>
                  </a:lnTo>
                  <a:lnTo>
                    <a:pt x="402" y="141"/>
                  </a:lnTo>
                  <a:lnTo>
                    <a:pt x="439" y="152"/>
                  </a:lnTo>
                  <a:lnTo>
                    <a:pt x="474" y="165"/>
                  </a:lnTo>
                  <a:lnTo>
                    <a:pt x="490" y="172"/>
                  </a:lnTo>
                  <a:lnTo>
                    <a:pt x="507" y="179"/>
                  </a:lnTo>
                  <a:lnTo>
                    <a:pt x="523" y="188"/>
                  </a:lnTo>
                  <a:lnTo>
                    <a:pt x="540" y="197"/>
                  </a:lnTo>
                  <a:lnTo>
                    <a:pt x="555" y="206"/>
                  </a:lnTo>
                  <a:lnTo>
                    <a:pt x="571" y="217"/>
                  </a:lnTo>
                  <a:lnTo>
                    <a:pt x="585" y="228"/>
                  </a:lnTo>
                  <a:lnTo>
                    <a:pt x="600" y="240"/>
                  </a:lnTo>
                  <a:lnTo>
                    <a:pt x="613" y="254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40" y="285"/>
                  </a:lnTo>
                  <a:lnTo>
                    <a:pt x="653" y="301"/>
                  </a:lnTo>
                  <a:lnTo>
                    <a:pt x="664" y="317"/>
                  </a:lnTo>
                  <a:lnTo>
                    <a:pt x="673" y="334"/>
                  </a:lnTo>
                  <a:lnTo>
                    <a:pt x="683" y="349"/>
                  </a:lnTo>
                  <a:lnTo>
                    <a:pt x="691" y="365"/>
                  </a:lnTo>
                  <a:lnTo>
                    <a:pt x="698" y="380"/>
                  </a:lnTo>
                  <a:lnTo>
                    <a:pt x="705" y="396"/>
                  </a:lnTo>
                  <a:lnTo>
                    <a:pt x="709" y="410"/>
                  </a:lnTo>
                  <a:lnTo>
                    <a:pt x="713" y="426"/>
                  </a:lnTo>
                  <a:lnTo>
                    <a:pt x="715" y="440"/>
                  </a:lnTo>
                  <a:lnTo>
                    <a:pt x="717" y="455"/>
                  </a:lnTo>
                  <a:lnTo>
                    <a:pt x="718" y="469"/>
                  </a:lnTo>
                  <a:lnTo>
                    <a:pt x="717" y="484"/>
                  </a:lnTo>
                  <a:lnTo>
                    <a:pt x="716" y="498"/>
                  </a:lnTo>
                  <a:lnTo>
                    <a:pt x="713" y="512"/>
                  </a:lnTo>
                  <a:lnTo>
                    <a:pt x="713" y="512"/>
                  </a:lnTo>
                  <a:lnTo>
                    <a:pt x="710" y="525"/>
                  </a:lnTo>
                  <a:lnTo>
                    <a:pt x="705" y="537"/>
                  </a:lnTo>
                  <a:lnTo>
                    <a:pt x="699" y="550"/>
                  </a:lnTo>
                  <a:lnTo>
                    <a:pt x="693" y="562"/>
                  </a:lnTo>
                  <a:lnTo>
                    <a:pt x="686" y="574"/>
                  </a:lnTo>
                  <a:lnTo>
                    <a:pt x="678" y="585"/>
                  </a:lnTo>
                  <a:lnTo>
                    <a:pt x="668" y="596"/>
                  </a:lnTo>
                  <a:lnTo>
                    <a:pt x="658" y="608"/>
                  </a:lnTo>
                  <a:lnTo>
                    <a:pt x="647" y="618"/>
                  </a:lnTo>
                  <a:lnTo>
                    <a:pt x="635" y="628"/>
                  </a:lnTo>
                  <a:lnTo>
                    <a:pt x="622" y="639"/>
                  </a:lnTo>
                  <a:lnTo>
                    <a:pt x="608" y="648"/>
                  </a:lnTo>
                  <a:lnTo>
                    <a:pt x="593" y="657"/>
                  </a:lnTo>
                  <a:lnTo>
                    <a:pt x="577" y="667"/>
                  </a:lnTo>
                  <a:lnTo>
                    <a:pt x="561" y="675"/>
                  </a:lnTo>
                  <a:lnTo>
                    <a:pt x="543" y="684"/>
                  </a:lnTo>
                  <a:lnTo>
                    <a:pt x="543" y="684"/>
                  </a:lnTo>
                  <a:lnTo>
                    <a:pt x="534" y="701"/>
                  </a:lnTo>
                  <a:lnTo>
                    <a:pt x="525" y="717"/>
                  </a:lnTo>
                  <a:lnTo>
                    <a:pt x="516" y="732"/>
                  </a:lnTo>
                  <a:lnTo>
                    <a:pt x="507" y="746"/>
                  </a:lnTo>
                  <a:lnTo>
                    <a:pt x="498" y="760"/>
                  </a:lnTo>
                  <a:lnTo>
                    <a:pt x="487" y="772"/>
                  </a:lnTo>
                  <a:lnTo>
                    <a:pt x="477" y="783"/>
                  </a:lnTo>
                  <a:lnTo>
                    <a:pt x="466" y="793"/>
                  </a:lnTo>
                  <a:lnTo>
                    <a:pt x="455" y="802"/>
                  </a:lnTo>
                  <a:lnTo>
                    <a:pt x="444" y="811"/>
                  </a:lnTo>
                  <a:lnTo>
                    <a:pt x="432" y="818"/>
                  </a:lnTo>
                  <a:lnTo>
                    <a:pt x="421" y="824"/>
                  </a:lnTo>
                  <a:lnTo>
                    <a:pt x="409" y="830"/>
                  </a:lnTo>
                  <a:lnTo>
                    <a:pt x="396" y="834"/>
                  </a:lnTo>
                  <a:lnTo>
                    <a:pt x="384" y="837"/>
                  </a:lnTo>
                  <a:lnTo>
                    <a:pt x="371" y="840"/>
                  </a:lnTo>
                  <a:lnTo>
                    <a:pt x="371" y="840"/>
                  </a:lnTo>
                  <a:lnTo>
                    <a:pt x="359" y="842"/>
                  </a:lnTo>
                  <a:lnTo>
                    <a:pt x="347" y="842"/>
                  </a:lnTo>
                  <a:lnTo>
                    <a:pt x="347" y="842"/>
                  </a:lnTo>
                  <a:close/>
                  <a:moveTo>
                    <a:pt x="99" y="85"/>
                  </a:moveTo>
                  <a:lnTo>
                    <a:pt x="99" y="85"/>
                  </a:lnTo>
                  <a:lnTo>
                    <a:pt x="93" y="102"/>
                  </a:lnTo>
                  <a:lnTo>
                    <a:pt x="88" y="119"/>
                  </a:lnTo>
                  <a:lnTo>
                    <a:pt x="83" y="138"/>
                  </a:lnTo>
                  <a:lnTo>
                    <a:pt x="78" y="157"/>
                  </a:lnTo>
                  <a:lnTo>
                    <a:pt x="75" y="175"/>
                  </a:lnTo>
                  <a:lnTo>
                    <a:pt x="72" y="195"/>
                  </a:lnTo>
                  <a:lnTo>
                    <a:pt x="68" y="235"/>
                  </a:lnTo>
                  <a:lnTo>
                    <a:pt x="66" y="276"/>
                  </a:lnTo>
                  <a:lnTo>
                    <a:pt x="66" y="317"/>
                  </a:lnTo>
                  <a:lnTo>
                    <a:pt x="68" y="358"/>
                  </a:lnTo>
                  <a:lnTo>
                    <a:pt x="72" y="399"/>
                  </a:lnTo>
                  <a:lnTo>
                    <a:pt x="78" y="439"/>
                  </a:lnTo>
                  <a:lnTo>
                    <a:pt x="87" y="477"/>
                  </a:lnTo>
                  <a:lnTo>
                    <a:pt x="96" y="515"/>
                  </a:lnTo>
                  <a:lnTo>
                    <a:pt x="107" y="550"/>
                  </a:lnTo>
                  <a:lnTo>
                    <a:pt x="120" y="582"/>
                  </a:lnTo>
                  <a:lnTo>
                    <a:pt x="126" y="597"/>
                  </a:lnTo>
                  <a:lnTo>
                    <a:pt x="133" y="612"/>
                  </a:lnTo>
                  <a:lnTo>
                    <a:pt x="142" y="625"/>
                  </a:lnTo>
                  <a:lnTo>
                    <a:pt x="149" y="638"/>
                  </a:lnTo>
                  <a:lnTo>
                    <a:pt x="157" y="649"/>
                  </a:lnTo>
                  <a:lnTo>
                    <a:pt x="165" y="661"/>
                  </a:lnTo>
                  <a:lnTo>
                    <a:pt x="165" y="661"/>
                  </a:lnTo>
                  <a:lnTo>
                    <a:pt x="179" y="675"/>
                  </a:lnTo>
                  <a:lnTo>
                    <a:pt x="191" y="688"/>
                  </a:lnTo>
                  <a:lnTo>
                    <a:pt x="205" y="701"/>
                  </a:lnTo>
                  <a:lnTo>
                    <a:pt x="217" y="713"/>
                  </a:lnTo>
                  <a:lnTo>
                    <a:pt x="231" y="724"/>
                  </a:lnTo>
                  <a:lnTo>
                    <a:pt x="243" y="734"/>
                  </a:lnTo>
                  <a:lnTo>
                    <a:pt x="256" y="742"/>
                  </a:lnTo>
                  <a:lnTo>
                    <a:pt x="269" y="751"/>
                  </a:lnTo>
                  <a:lnTo>
                    <a:pt x="281" y="757"/>
                  </a:lnTo>
                  <a:lnTo>
                    <a:pt x="294" y="763"/>
                  </a:lnTo>
                  <a:lnTo>
                    <a:pt x="305" y="767"/>
                  </a:lnTo>
                  <a:lnTo>
                    <a:pt x="317" y="771"/>
                  </a:lnTo>
                  <a:lnTo>
                    <a:pt x="329" y="773"/>
                  </a:lnTo>
                  <a:lnTo>
                    <a:pt x="340" y="775"/>
                  </a:lnTo>
                  <a:lnTo>
                    <a:pt x="351" y="775"/>
                  </a:lnTo>
                  <a:lnTo>
                    <a:pt x="362" y="774"/>
                  </a:lnTo>
                  <a:lnTo>
                    <a:pt x="362" y="774"/>
                  </a:lnTo>
                  <a:lnTo>
                    <a:pt x="370" y="772"/>
                  </a:lnTo>
                  <a:lnTo>
                    <a:pt x="380" y="770"/>
                  </a:lnTo>
                  <a:lnTo>
                    <a:pt x="388" y="767"/>
                  </a:lnTo>
                  <a:lnTo>
                    <a:pt x="397" y="762"/>
                  </a:lnTo>
                  <a:lnTo>
                    <a:pt x="405" y="758"/>
                  </a:lnTo>
                  <a:lnTo>
                    <a:pt x="414" y="752"/>
                  </a:lnTo>
                  <a:lnTo>
                    <a:pt x="422" y="744"/>
                  </a:lnTo>
                  <a:lnTo>
                    <a:pt x="429" y="737"/>
                  </a:lnTo>
                  <a:lnTo>
                    <a:pt x="438" y="729"/>
                  </a:lnTo>
                  <a:lnTo>
                    <a:pt x="445" y="718"/>
                  </a:lnTo>
                  <a:lnTo>
                    <a:pt x="460" y="698"/>
                  </a:lnTo>
                  <a:lnTo>
                    <a:pt x="474" y="673"/>
                  </a:lnTo>
                  <a:lnTo>
                    <a:pt x="488" y="645"/>
                  </a:lnTo>
                  <a:lnTo>
                    <a:pt x="488" y="645"/>
                  </a:lnTo>
                  <a:lnTo>
                    <a:pt x="490" y="640"/>
                  </a:lnTo>
                  <a:lnTo>
                    <a:pt x="494" y="636"/>
                  </a:lnTo>
                  <a:lnTo>
                    <a:pt x="500" y="632"/>
                  </a:lnTo>
                  <a:lnTo>
                    <a:pt x="505" y="628"/>
                  </a:lnTo>
                  <a:lnTo>
                    <a:pt x="505" y="628"/>
                  </a:lnTo>
                  <a:lnTo>
                    <a:pt x="535" y="615"/>
                  </a:lnTo>
                  <a:lnTo>
                    <a:pt x="561" y="599"/>
                  </a:lnTo>
                  <a:lnTo>
                    <a:pt x="583" y="584"/>
                  </a:lnTo>
                  <a:lnTo>
                    <a:pt x="594" y="577"/>
                  </a:lnTo>
                  <a:lnTo>
                    <a:pt x="603" y="568"/>
                  </a:lnTo>
                  <a:lnTo>
                    <a:pt x="612" y="560"/>
                  </a:lnTo>
                  <a:lnTo>
                    <a:pt x="620" y="551"/>
                  </a:lnTo>
                  <a:lnTo>
                    <a:pt x="627" y="543"/>
                  </a:lnTo>
                  <a:lnTo>
                    <a:pt x="633" y="533"/>
                  </a:lnTo>
                  <a:lnTo>
                    <a:pt x="638" y="525"/>
                  </a:lnTo>
                  <a:lnTo>
                    <a:pt x="642" y="516"/>
                  </a:lnTo>
                  <a:lnTo>
                    <a:pt x="646" y="506"/>
                  </a:lnTo>
                  <a:lnTo>
                    <a:pt x="649" y="497"/>
                  </a:lnTo>
                  <a:lnTo>
                    <a:pt x="649" y="497"/>
                  </a:lnTo>
                  <a:lnTo>
                    <a:pt x="651" y="485"/>
                  </a:lnTo>
                  <a:lnTo>
                    <a:pt x="652" y="472"/>
                  </a:lnTo>
                  <a:lnTo>
                    <a:pt x="651" y="460"/>
                  </a:lnTo>
                  <a:lnTo>
                    <a:pt x="650" y="447"/>
                  </a:lnTo>
                  <a:lnTo>
                    <a:pt x="647" y="435"/>
                  </a:lnTo>
                  <a:lnTo>
                    <a:pt x="643" y="423"/>
                  </a:lnTo>
                  <a:lnTo>
                    <a:pt x="638" y="410"/>
                  </a:lnTo>
                  <a:lnTo>
                    <a:pt x="633" y="398"/>
                  </a:lnTo>
                  <a:lnTo>
                    <a:pt x="628" y="386"/>
                  </a:lnTo>
                  <a:lnTo>
                    <a:pt x="622" y="374"/>
                  </a:lnTo>
                  <a:lnTo>
                    <a:pt x="607" y="352"/>
                  </a:lnTo>
                  <a:lnTo>
                    <a:pt x="592" y="330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66" y="299"/>
                  </a:lnTo>
                  <a:lnTo>
                    <a:pt x="554" y="289"/>
                  </a:lnTo>
                  <a:lnTo>
                    <a:pt x="542" y="279"/>
                  </a:lnTo>
                  <a:lnTo>
                    <a:pt x="530" y="269"/>
                  </a:lnTo>
                  <a:lnTo>
                    <a:pt x="517" y="260"/>
                  </a:lnTo>
                  <a:lnTo>
                    <a:pt x="504" y="252"/>
                  </a:lnTo>
                  <a:lnTo>
                    <a:pt x="489" y="245"/>
                  </a:lnTo>
                  <a:lnTo>
                    <a:pt x="475" y="237"/>
                  </a:lnTo>
                  <a:lnTo>
                    <a:pt x="445" y="225"/>
                  </a:lnTo>
                  <a:lnTo>
                    <a:pt x="414" y="214"/>
                  </a:lnTo>
                  <a:lnTo>
                    <a:pt x="381" y="203"/>
                  </a:lnTo>
                  <a:lnTo>
                    <a:pt x="346" y="193"/>
                  </a:lnTo>
                  <a:lnTo>
                    <a:pt x="346" y="193"/>
                  </a:lnTo>
                  <a:lnTo>
                    <a:pt x="286" y="174"/>
                  </a:lnTo>
                  <a:lnTo>
                    <a:pt x="255" y="164"/>
                  </a:lnTo>
                  <a:lnTo>
                    <a:pt x="224" y="151"/>
                  </a:lnTo>
                  <a:lnTo>
                    <a:pt x="192" y="138"/>
                  </a:lnTo>
                  <a:lnTo>
                    <a:pt x="161" y="124"/>
                  </a:lnTo>
                  <a:lnTo>
                    <a:pt x="130" y="106"/>
                  </a:lnTo>
                  <a:lnTo>
                    <a:pt x="115" y="96"/>
                  </a:lnTo>
                  <a:lnTo>
                    <a:pt x="99" y="85"/>
                  </a:lnTo>
                  <a:lnTo>
                    <a:pt x="99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21">
              <a:extLst>
                <a:ext uri="{FF2B5EF4-FFF2-40B4-BE49-F238E27FC236}">
                  <a16:creationId xmlns:a16="http://schemas.microsoft.com/office/drawing/2014/main" id="{CB3B0D08-72E7-4907-B2BB-75A5ABBB5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0588" y="1887538"/>
              <a:ext cx="200025" cy="192088"/>
            </a:xfrm>
            <a:custGeom>
              <a:avLst/>
              <a:gdLst>
                <a:gd name="T0" fmla="*/ 504 w 879"/>
                <a:gd name="T1" fmla="*/ 849 h 849"/>
                <a:gd name="T2" fmla="*/ 493 w 879"/>
                <a:gd name="T3" fmla="*/ 847 h 849"/>
                <a:gd name="T4" fmla="*/ 481 w 879"/>
                <a:gd name="T5" fmla="*/ 838 h 849"/>
                <a:gd name="T6" fmla="*/ 475 w 879"/>
                <a:gd name="T7" fmla="*/ 823 h 849"/>
                <a:gd name="T8" fmla="*/ 462 w 879"/>
                <a:gd name="T9" fmla="*/ 780 h 849"/>
                <a:gd name="T10" fmla="*/ 424 w 879"/>
                <a:gd name="T11" fmla="*/ 666 h 849"/>
                <a:gd name="T12" fmla="*/ 365 w 879"/>
                <a:gd name="T13" fmla="*/ 533 h 849"/>
                <a:gd name="T14" fmla="*/ 317 w 879"/>
                <a:gd name="T15" fmla="*/ 443 h 849"/>
                <a:gd name="T16" fmla="*/ 259 w 879"/>
                <a:gd name="T17" fmla="*/ 348 h 849"/>
                <a:gd name="T18" fmla="*/ 189 w 879"/>
                <a:gd name="T19" fmla="*/ 250 h 849"/>
                <a:gd name="T20" fmla="*/ 106 w 879"/>
                <a:gd name="T21" fmla="*/ 153 h 849"/>
                <a:gd name="T22" fmla="*/ 11 w 879"/>
                <a:gd name="T23" fmla="*/ 57 h 849"/>
                <a:gd name="T24" fmla="*/ 3 w 879"/>
                <a:gd name="T25" fmla="*/ 47 h 849"/>
                <a:gd name="T26" fmla="*/ 0 w 879"/>
                <a:gd name="T27" fmla="*/ 28 h 849"/>
                <a:gd name="T28" fmla="*/ 8 w 879"/>
                <a:gd name="T29" fmla="*/ 11 h 849"/>
                <a:gd name="T30" fmla="*/ 19 w 879"/>
                <a:gd name="T31" fmla="*/ 4 h 849"/>
                <a:gd name="T32" fmla="*/ 38 w 879"/>
                <a:gd name="T33" fmla="*/ 0 h 849"/>
                <a:gd name="T34" fmla="*/ 56 w 879"/>
                <a:gd name="T35" fmla="*/ 9 h 849"/>
                <a:gd name="T36" fmla="*/ 106 w 879"/>
                <a:gd name="T37" fmla="*/ 56 h 849"/>
                <a:gd name="T38" fmla="*/ 177 w 879"/>
                <a:gd name="T39" fmla="*/ 131 h 849"/>
                <a:gd name="T40" fmla="*/ 240 w 879"/>
                <a:gd name="T41" fmla="*/ 206 h 849"/>
                <a:gd name="T42" fmla="*/ 343 w 879"/>
                <a:gd name="T43" fmla="*/ 355 h 849"/>
                <a:gd name="T44" fmla="*/ 422 w 879"/>
                <a:gd name="T45" fmla="*/ 497 h 849"/>
                <a:gd name="T46" fmla="*/ 478 w 879"/>
                <a:gd name="T47" fmla="*/ 621 h 849"/>
                <a:gd name="T48" fmla="*/ 514 w 879"/>
                <a:gd name="T49" fmla="*/ 721 h 849"/>
                <a:gd name="T50" fmla="*/ 549 w 879"/>
                <a:gd name="T51" fmla="*/ 657 h 849"/>
                <a:gd name="T52" fmla="*/ 595 w 879"/>
                <a:gd name="T53" fmla="*/ 586 h 849"/>
                <a:gd name="T54" fmla="*/ 653 w 879"/>
                <a:gd name="T55" fmla="*/ 514 h 849"/>
                <a:gd name="T56" fmla="*/ 722 w 879"/>
                <a:gd name="T57" fmla="*/ 445 h 849"/>
                <a:gd name="T58" fmla="*/ 803 w 879"/>
                <a:gd name="T59" fmla="*/ 387 h 849"/>
                <a:gd name="T60" fmla="*/ 838 w 879"/>
                <a:gd name="T61" fmla="*/ 369 h 849"/>
                <a:gd name="T62" fmla="*/ 858 w 879"/>
                <a:gd name="T63" fmla="*/ 369 h 849"/>
                <a:gd name="T64" fmla="*/ 873 w 879"/>
                <a:gd name="T65" fmla="*/ 380 h 849"/>
                <a:gd name="T66" fmla="*/ 878 w 879"/>
                <a:gd name="T67" fmla="*/ 392 h 849"/>
                <a:gd name="T68" fmla="*/ 878 w 879"/>
                <a:gd name="T69" fmla="*/ 411 h 849"/>
                <a:gd name="T70" fmla="*/ 867 w 879"/>
                <a:gd name="T71" fmla="*/ 427 h 849"/>
                <a:gd name="T72" fmla="*/ 842 w 879"/>
                <a:gd name="T73" fmla="*/ 440 h 849"/>
                <a:gd name="T74" fmla="*/ 786 w 879"/>
                <a:gd name="T75" fmla="*/ 477 h 849"/>
                <a:gd name="T76" fmla="*/ 737 w 879"/>
                <a:gd name="T77" fmla="*/ 521 h 849"/>
                <a:gd name="T78" fmla="*/ 692 w 879"/>
                <a:gd name="T79" fmla="*/ 569 h 849"/>
                <a:gd name="T80" fmla="*/ 621 w 879"/>
                <a:gd name="T81" fmla="*/ 668 h 849"/>
                <a:gd name="T82" fmla="*/ 570 w 879"/>
                <a:gd name="T83" fmla="*/ 756 h 849"/>
                <a:gd name="T84" fmla="*/ 538 w 879"/>
                <a:gd name="T85" fmla="*/ 828 h 849"/>
                <a:gd name="T86" fmla="*/ 533 w 879"/>
                <a:gd name="T87" fmla="*/ 836 h 849"/>
                <a:gd name="T88" fmla="*/ 521 w 879"/>
                <a:gd name="T89" fmla="*/ 846 h 849"/>
                <a:gd name="T90" fmla="*/ 507 w 879"/>
                <a:gd name="T91" fmla="*/ 849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79" h="849">
                  <a:moveTo>
                    <a:pt x="507" y="849"/>
                  </a:moveTo>
                  <a:lnTo>
                    <a:pt x="507" y="849"/>
                  </a:lnTo>
                  <a:lnTo>
                    <a:pt x="504" y="849"/>
                  </a:lnTo>
                  <a:lnTo>
                    <a:pt x="504" y="849"/>
                  </a:lnTo>
                  <a:lnTo>
                    <a:pt x="499" y="849"/>
                  </a:lnTo>
                  <a:lnTo>
                    <a:pt x="493" y="847"/>
                  </a:lnTo>
                  <a:lnTo>
                    <a:pt x="489" y="845"/>
                  </a:lnTo>
                  <a:lnTo>
                    <a:pt x="485" y="842"/>
                  </a:lnTo>
                  <a:lnTo>
                    <a:pt x="481" y="838"/>
                  </a:lnTo>
                  <a:lnTo>
                    <a:pt x="478" y="833"/>
                  </a:lnTo>
                  <a:lnTo>
                    <a:pt x="476" y="828"/>
                  </a:lnTo>
                  <a:lnTo>
                    <a:pt x="475" y="823"/>
                  </a:lnTo>
                  <a:lnTo>
                    <a:pt x="475" y="823"/>
                  </a:lnTo>
                  <a:lnTo>
                    <a:pt x="470" y="802"/>
                  </a:lnTo>
                  <a:lnTo>
                    <a:pt x="462" y="780"/>
                  </a:lnTo>
                  <a:lnTo>
                    <a:pt x="453" y="748"/>
                  </a:lnTo>
                  <a:lnTo>
                    <a:pt x="440" y="710"/>
                  </a:lnTo>
                  <a:lnTo>
                    <a:pt x="424" y="666"/>
                  </a:lnTo>
                  <a:lnTo>
                    <a:pt x="403" y="616"/>
                  </a:lnTo>
                  <a:lnTo>
                    <a:pt x="380" y="562"/>
                  </a:lnTo>
                  <a:lnTo>
                    <a:pt x="365" y="533"/>
                  </a:lnTo>
                  <a:lnTo>
                    <a:pt x="351" y="504"/>
                  </a:lnTo>
                  <a:lnTo>
                    <a:pt x="335" y="474"/>
                  </a:lnTo>
                  <a:lnTo>
                    <a:pt x="317" y="443"/>
                  </a:lnTo>
                  <a:lnTo>
                    <a:pt x="300" y="411"/>
                  </a:lnTo>
                  <a:lnTo>
                    <a:pt x="280" y="380"/>
                  </a:lnTo>
                  <a:lnTo>
                    <a:pt x="259" y="348"/>
                  </a:lnTo>
                  <a:lnTo>
                    <a:pt x="237" y="315"/>
                  </a:lnTo>
                  <a:lnTo>
                    <a:pt x="214" y="283"/>
                  </a:lnTo>
                  <a:lnTo>
                    <a:pt x="189" y="250"/>
                  </a:lnTo>
                  <a:lnTo>
                    <a:pt x="163" y="217"/>
                  </a:lnTo>
                  <a:lnTo>
                    <a:pt x="135" y="185"/>
                  </a:lnTo>
                  <a:lnTo>
                    <a:pt x="106" y="153"/>
                  </a:lnTo>
                  <a:lnTo>
                    <a:pt x="76" y="120"/>
                  </a:lnTo>
                  <a:lnTo>
                    <a:pt x="44" y="88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6" y="52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5" y="16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3" y="7"/>
                  </a:lnTo>
                  <a:lnTo>
                    <a:pt x="19" y="4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4" y="1"/>
                  </a:lnTo>
                  <a:lnTo>
                    <a:pt x="49" y="5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81" y="33"/>
                  </a:lnTo>
                  <a:lnTo>
                    <a:pt x="106" y="56"/>
                  </a:lnTo>
                  <a:lnTo>
                    <a:pt x="131" y="81"/>
                  </a:lnTo>
                  <a:lnTo>
                    <a:pt x="154" y="106"/>
                  </a:lnTo>
                  <a:lnTo>
                    <a:pt x="177" y="131"/>
                  </a:lnTo>
                  <a:lnTo>
                    <a:pt x="198" y="156"/>
                  </a:lnTo>
                  <a:lnTo>
                    <a:pt x="219" y="182"/>
                  </a:lnTo>
                  <a:lnTo>
                    <a:pt x="240" y="206"/>
                  </a:lnTo>
                  <a:lnTo>
                    <a:pt x="277" y="256"/>
                  </a:lnTo>
                  <a:lnTo>
                    <a:pt x="312" y="307"/>
                  </a:lnTo>
                  <a:lnTo>
                    <a:pt x="343" y="355"/>
                  </a:lnTo>
                  <a:lnTo>
                    <a:pt x="372" y="404"/>
                  </a:lnTo>
                  <a:lnTo>
                    <a:pt x="399" y="452"/>
                  </a:lnTo>
                  <a:lnTo>
                    <a:pt x="422" y="497"/>
                  </a:lnTo>
                  <a:lnTo>
                    <a:pt x="443" y="541"/>
                  </a:lnTo>
                  <a:lnTo>
                    <a:pt x="461" y="582"/>
                  </a:lnTo>
                  <a:lnTo>
                    <a:pt x="478" y="621"/>
                  </a:lnTo>
                  <a:lnTo>
                    <a:pt x="492" y="657"/>
                  </a:lnTo>
                  <a:lnTo>
                    <a:pt x="504" y="691"/>
                  </a:lnTo>
                  <a:lnTo>
                    <a:pt x="514" y="721"/>
                  </a:lnTo>
                  <a:lnTo>
                    <a:pt x="514" y="721"/>
                  </a:lnTo>
                  <a:lnTo>
                    <a:pt x="536" y="679"/>
                  </a:lnTo>
                  <a:lnTo>
                    <a:pt x="549" y="657"/>
                  </a:lnTo>
                  <a:lnTo>
                    <a:pt x="563" y="634"/>
                  </a:lnTo>
                  <a:lnTo>
                    <a:pt x="578" y="610"/>
                  </a:lnTo>
                  <a:lnTo>
                    <a:pt x="595" y="586"/>
                  </a:lnTo>
                  <a:lnTo>
                    <a:pt x="612" y="562"/>
                  </a:lnTo>
                  <a:lnTo>
                    <a:pt x="632" y="537"/>
                  </a:lnTo>
                  <a:lnTo>
                    <a:pt x="653" y="514"/>
                  </a:lnTo>
                  <a:lnTo>
                    <a:pt x="674" y="490"/>
                  </a:lnTo>
                  <a:lnTo>
                    <a:pt x="697" y="467"/>
                  </a:lnTo>
                  <a:lnTo>
                    <a:pt x="722" y="445"/>
                  </a:lnTo>
                  <a:lnTo>
                    <a:pt x="747" y="425"/>
                  </a:lnTo>
                  <a:lnTo>
                    <a:pt x="774" y="405"/>
                  </a:lnTo>
                  <a:lnTo>
                    <a:pt x="803" y="387"/>
                  </a:lnTo>
                  <a:lnTo>
                    <a:pt x="832" y="371"/>
                  </a:lnTo>
                  <a:lnTo>
                    <a:pt x="832" y="371"/>
                  </a:lnTo>
                  <a:lnTo>
                    <a:pt x="838" y="369"/>
                  </a:lnTo>
                  <a:lnTo>
                    <a:pt x="845" y="368"/>
                  </a:lnTo>
                  <a:lnTo>
                    <a:pt x="851" y="368"/>
                  </a:lnTo>
                  <a:lnTo>
                    <a:pt x="858" y="369"/>
                  </a:lnTo>
                  <a:lnTo>
                    <a:pt x="863" y="372"/>
                  </a:lnTo>
                  <a:lnTo>
                    <a:pt x="868" y="375"/>
                  </a:lnTo>
                  <a:lnTo>
                    <a:pt x="873" y="380"/>
                  </a:lnTo>
                  <a:lnTo>
                    <a:pt x="876" y="385"/>
                  </a:lnTo>
                  <a:lnTo>
                    <a:pt x="876" y="385"/>
                  </a:lnTo>
                  <a:lnTo>
                    <a:pt x="878" y="392"/>
                  </a:lnTo>
                  <a:lnTo>
                    <a:pt x="879" y="399"/>
                  </a:lnTo>
                  <a:lnTo>
                    <a:pt x="879" y="405"/>
                  </a:lnTo>
                  <a:lnTo>
                    <a:pt x="878" y="411"/>
                  </a:lnTo>
                  <a:lnTo>
                    <a:pt x="875" y="416"/>
                  </a:lnTo>
                  <a:lnTo>
                    <a:pt x="872" y="422"/>
                  </a:lnTo>
                  <a:lnTo>
                    <a:pt x="867" y="427"/>
                  </a:lnTo>
                  <a:lnTo>
                    <a:pt x="862" y="430"/>
                  </a:lnTo>
                  <a:lnTo>
                    <a:pt x="862" y="430"/>
                  </a:lnTo>
                  <a:lnTo>
                    <a:pt x="842" y="440"/>
                  </a:lnTo>
                  <a:lnTo>
                    <a:pt x="822" y="452"/>
                  </a:lnTo>
                  <a:lnTo>
                    <a:pt x="805" y="464"/>
                  </a:lnTo>
                  <a:lnTo>
                    <a:pt x="786" y="477"/>
                  </a:lnTo>
                  <a:lnTo>
                    <a:pt x="770" y="492"/>
                  </a:lnTo>
                  <a:lnTo>
                    <a:pt x="753" y="506"/>
                  </a:lnTo>
                  <a:lnTo>
                    <a:pt x="737" y="521"/>
                  </a:lnTo>
                  <a:lnTo>
                    <a:pt x="721" y="536"/>
                  </a:lnTo>
                  <a:lnTo>
                    <a:pt x="707" y="553"/>
                  </a:lnTo>
                  <a:lnTo>
                    <a:pt x="692" y="569"/>
                  </a:lnTo>
                  <a:lnTo>
                    <a:pt x="666" y="602"/>
                  </a:lnTo>
                  <a:lnTo>
                    <a:pt x="641" y="635"/>
                  </a:lnTo>
                  <a:lnTo>
                    <a:pt x="621" y="668"/>
                  </a:lnTo>
                  <a:lnTo>
                    <a:pt x="601" y="699"/>
                  </a:lnTo>
                  <a:lnTo>
                    <a:pt x="584" y="729"/>
                  </a:lnTo>
                  <a:lnTo>
                    <a:pt x="570" y="756"/>
                  </a:lnTo>
                  <a:lnTo>
                    <a:pt x="559" y="780"/>
                  </a:lnTo>
                  <a:lnTo>
                    <a:pt x="543" y="815"/>
                  </a:lnTo>
                  <a:lnTo>
                    <a:pt x="538" y="828"/>
                  </a:lnTo>
                  <a:lnTo>
                    <a:pt x="538" y="828"/>
                  </a:lnTo>
                  <a:lnTo>
                    <a:pt x="536" y="832"/>
                  </a:lnTo>
                  <a:lnTo>
                    <a:pt x="533" y="836"/>
                  </a:lnTo>
                  <a:lnTo>
                    <a:pt x="530" y="841"/>
                  </a:lnTo>
                  <a:lnTo>
                    <a:pt x="525" y="844"/>
                  </a:lnTo>
                  <a:lnTo>
                    <a:pt x="521" y="846"/>
                  </a:lnTo>
                  <a:lnTo>
                    <a:pt x="516" y="848"/>
                  </a:lnTo>
                  <a:lnTo>
                    <a:pt x="512" y="849"/>
                  </a:lnTo>
                  <a:lnTo>
                    <a:pt x="507" y="849"/>
                  </a:lnTo>
                  <a:lnTo>
                    <a:pt x="507" y="849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7AC61F6-413D-4FAB-8EAB-EFE62F4AEE9B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592E4EC1-381C-4AA4-A2A1-C38E33FF0ECA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14AA63AB-D83B-4D24-9835-F494891829B3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7508F7C4-1797-4FBB-998A-A2A861D18C61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81967959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000"/>
                            </p:stCondLst>
                            <p:childTnLst>
                              <p:par>
                                <p:cTn id="4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2" grpId="0" animBg="1"/>
      <p:bldP spid="26" grpId="0" animBg="1"/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 descr="A close up of a plant&#10;&#10;Description automatically generated">
            <a:extLst>
              <a:ext uri="{FF2B5EF4-FFF2-40B4-BE49-F238E27FC236}">
                <a16:creationId xmlns:a16="http://schemas.microsoft.com/office/drawing/2014/main" id="{E65EAAF3-0FEB-4D7A-BB59-C874CACDD7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43660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74AB30FB-37D5-4529-9A4D-7620D995490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Graphic 460">
            <a:extLst>
              <a:ext uri="{FF2B5EF4-FFF2-40B4-BE49-F238E27FC236}">
                <a16:creationId xmlns:a16="http://schemas.microsoft.com/office/drawing/2014/main" id="{F7E1CE63-97E6-4AC2-8EC6-7F38D33E431F}"/>
              </a:ext>
            </a:extLst>
          </p:cNvPr>
          <p:cNvSpPr/>
          <p:nvPr/>
        </p:nvSpPr>
        <p:spPr>
          <a:xfrm flipH="1">
            <a:off x="11100626" y="306946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6844A387-AE32-4F60-B073-AE983B575B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1309592" flipH="1">
            <a:off x="10361748" y="4561292"/>
            <a:ext cx="1173145" cy="251094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6D71D848-6EDA-4C8C-B793-C49059ADA6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58625" y="3663620"/>
            <a:ext cx="1525277" cy="331582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FB9E4EBF-EE15-4A06-841A-EC756A9E57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27911" y="5407708"/>
            <a:ext cx="772715" cy="1534546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894B5B69-BA08-485E-B699-11127AC39D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23257" y="5008243"/>
            <a:ext cx="1954192" cy="2018264"/>
          </a:xfrm>
          <a:prstGeom prst="rect">
            <a:avLst/>
          </a:prstGeom>
        </p:spPr>
      </p:pic>
      <p:sp>
        <p:nvSpPr>
          <p:cNvPr id="54" name="Graphic 460">
            <a:extLst>
              <a:ext uri="{FF2B5EF4-FFF2-40B4-BE49-F238E27FC236}">
                <a16:creationId xmlns:a16="http://schemas.microsoft.com/office/drawing/2014/main" id="{06A67598-A70D-45EC-A232-CD4A44AF97A3}"/>
              </a:ext>
            </a:extLst>
          </p:cNvPr>
          <p:cNvSpPr/>
          <p:nvPr/>
        </p:nvSpPr>
        <p:spPr>
          <a:xfrm>
            <a:off x="9318422" y="399808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EB26580D-6C98-48B9-B7E0-5AC3EB90302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55280" y="4607019"/>
            <a:ext cx="1721844" cy="2419488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52A3C5BC-AC30-4CEF-911B-39427DF67B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06986">
            <a:off x="9000803" y="5654501"/>
            <a:ext cx="1343576" cy="13876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7F68852-54BC-4A61-8EB4-C6F63E3D2C1D}"/>
              </a:ext>
            </a:extLst>
          </p:cNvPr>
          <p:cNvSpPr txBox="1"/>
          <p:nvPr/>
        </p:nvSpPr>
        <p:spPr>
          <a:xfrm>
            <a:off x="957805" y="804757"/>
            <a:ext cx="472249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400" b="1">
                <a:solidFill>
                  <a:schemeClr val="bg1"/>
                </a:solidFill>
              </a:rPr>
              <a:t>HISTORY</a:t>
            </a:r>
            <a:endParaRPr lang="en-US" sz="4400" b="1">
              <a:solidFill>
                <a:srgbClr val="E1BE63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89E680D-D6D0-4168-AB84-5C58E865B4D8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FE927C0-2D79-4DD9-91CD-BFFA67E91168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73F576B5-90DF-491E-BF2A-1A1A5FD7A0DE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891E2C3E-FEAA-4C1E-A819-C7E6BEC6DF5C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4" name="Picture 103">
            <a:extLst>
              <a:ext uri="{FF2B5EF4-FFF2-40B4-BE49-F238E27FC236}">
                <a16:creationId xmlns:a16="http://schemas.microsoft.com/office/drawing/2014/main" id="{2A94AB44-E0F0-4832-971A-3C1D77792EE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-2034740" y="3865455"/>
            <a:ext cx="8427572" cy="4018987"/>
          </a:xfrm>
          <a:prstGeom prst="rect">
            <a:avLst/>
          </a:prstGeom>
        </p:spPr>
      </p:pic>
      <p:sp>
        <p:nvSpPr>
          <p:cNvPr id="59" name="Rectangle: Top Corners Rounded 58">
            <a:extLst>
              <a:ext uri="{FF2B5EF4-FFF2-40B4-BE49-F238E27FC236}">
                <a16:creationId xmlns:a16="http://schemas.microsoft.com/office/drawing/2014/main" id="{83147F51-BBC4-4DD2-B60F-45D6E2A865AA}"/>
              </a:ext>
            </a:extLst>
          </p:cNvPr>
          <p:cNvSpPr/>
          <p:nvPr/>
        </p:nvSpPr>
        <p:spPr>
          <a:xfrm rot="5400000">
            <a:off x="4367680" y="-1949264"/>
            <a:ext cx="3271581" cy="12006943"/>
          </a:xfrm>
          <a:prstGeom prst="round2SameRect">
            <a:avLst>
              <a:gd name="adj1" fmla="val 9125"/>
              <a:gd name="adj2" fmla="val 0"/>
            </a:avLst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96840D8-63A0-4A82-9070-50F6F2E5A7A4}"/>
              </a:ext>
            </a:extLst>
          </p:cNvPr>
          <p:cNvGrpSpPr/>
          <p:nvPr/>
        </p:nvGrpSpPr>
        <p:grpSpPr>
          <a:xfrm>
            <a:off x="4928165" y="3733042"/>
            <a:ext cx="506378" cy="506378"/>
            <a:chOff x="2514264" y="2165226"/>
            <a:chExt cx="506378" cy="506378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57BCB88-7776-4F92-95F7-826B484D1602}"/>
                </a:ext>
              </a:extLst>
            </p:cNvPr>
            <p:cNvSpPr/>
            <p:nvPr/>
          </p:nvSpPr>
          <p:spPr>
            <a:xfrm>
              <a:off x="2514264" y="2165226"/>
              <a:ext cx="506378" cy="506378"/>
            </a:xfrm>
            <a:prstGeom prst="ellipse">
              <a:avLst/>
            </a:prstGeom>
            <a:solidFill>
              <a:srgbClr val="2A3E33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C14C28E7-1A41-4286-91DF-F9DF5D35E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266" y="2307818"/>
              <a:ext cx="236375" cy="221195"/>
            </a:xfrm>
            <a:custGeom>
              <a:avLst/>
              <a:gdLst>
                <a:gd name="T0" fmla="*/ 6 w 92"/>
                <a:gd name="T1" fmla="*/ 35 h 86"/>
                <a:gd name="T2" fmla="*/ 60 w 92"/>
                <a:gd name="T3" fmla="*/ 35 h 86"/>
                <a:gd name="T4" fmla="*/ 39 w 92"/>
                <a:gd name="T5" fmla="*/ 15 h 86"/>
                <a:gd name="T6" fmla="*/ 40 w 92"/>
                <a:gd name="T7" fmla="*/ 3 h 86"/>
                <a:gd name="T8" fmla="*/ 51 w 92"/>
                <a:gd name="T9" fmla="*/ 3 h 86"/>
                <a:gd name="T10" fmla="*/ 92 w 92"/>
                <a:gd name="T11" fmla="*/ 43 h 86"/>
                <a:gd name="T12" fmla="*/ 52 w 92"/>
                <a:gd name="T13" fmla="*/ 83 h 86"/>
                <a:gd name="T14" fmla="*/ 40 w 92"/>
                <a:gd name="T15" fmla="*/ 83 h 86"/>
                <a:gd name="T16" fmla="*/ 40 w 92"/>
                <a:gd name="T17" fmla="*/ 71 h 86"/>
                <a:gd name="T18" fmla="*/ 60 w 92"/>
                <a:gd name="T19" fmla="*/ 51 h 86"/>
                <a:gd name="T20" fmla="*/ 6 w 92"/>
                <a:gd name="T21" fmla="*/ 51 h 86"/>
                <a:gd name="T22" fmla="*/ 0 w 92"/>
                <a:gd name="T23" fmla="*/ 43 h 86"/>
                <a:gd name="T24" fmla="*/ 6 w 92"/>
                <a:gd name="T25" fmla="*/ 3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86">
                  <a:moveTo>
                    <a:pt x="6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6" y="12"/>
                    <a:pt x="36" y="6"/>
                    <a:pt x="40" y="3"/>
                  </a:cubicBezTo>
                  <a:cubicBezTo>
                    <a:pt x="43" y="0"/>
                    <a:pt x="48" y="0"/>
                    <a:pt x="51" y="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49" y="86"/>
                    <a:pt x="44" y="86"/>
                    <a:pt x="40" y="83"/>
                  </a:cubicBezTo>
                  <a:cubicBezTo>
                    <a:pt x="37" y="80"/>
                    <a:pt x="37" y="74"/>
                    <a:pt x="40" y="7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7"/>
                    <a:pt x="0" y="43"/>
                  </a:cubicBezTo>
                  <a:cubicBezTo>
                    <a:pt x="0" y="39"/>
                    <a:pt x="2" y="35"/>
                    <a:pt x="6" y="35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C962782-34BF-B6E6-EC9D-39E951ED6AF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47750" y="2716465"/>
            <a:ext cx="5567314" cy="26507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5E477C-9419-70A5-126F-AE75A7B2410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6200000">
            <a:off x="943505" y="2119955"/>
            <a:ext cx="2799414" cy="3732552"/>
          </a:xfrm>
          <a:prstGeom prst="rect">
            <a:avLst/>
          </a:prstGeom>
        </p:spPr>
      </p:pic>
      <p:pic>
        <p:nvPicPr>
          <p:cNvPr id="6" name="Picture 5" descr="Sisyphus and the burden of life - drhelencarter">
            <a:extLst>
              <a:ext uri="{FF2B5EF4-FFF2-40B4-BE49-F238E27FC236}">
                <a16:creationId xmlns:a16="http://schemas.microsoft.com/office/drawing/2014/main" id="{E61C7F16-BD4E-F8B6-A9B3-96B57D90C8A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83561" y="4359832"/>
            <a:ext cx="1208158" cy="1141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04778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5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9A02F3D-30F4-4916-9DDE-E6E5E9191B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0574C"/>
              </a:gs>
              <a:gs pos="45000">
                <a:srgbClr val="50745C"/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53EEAF-A340-46D9-9B2B-2E647FB36F17}"/>
              </a:ext>
            </a:extLst>
          </p:cNvPr>
          <p:cNvSpPr/>
          <p:nvPr/>
        </p:nvSpPr>
        <p:spPr>
          <a:xfrm>
            <a:off x="10900228" y="0"/>
            <a:ext cx="1291771" cy="1358900"/>
          </a:xfrm>
          <a:prstGeom prst="rect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C1EB366-190C-4A7D-AF0A-9CAB921FFF84}"/>
              </a:ext>
            </a:extLst>
          </p:cNvPr>
          <p:cNvSpPr/>
          <p:nvPr/>
        </p:nvSpPr>
        <p:spPr>
          <a:xfrm>
            <a:off x="0" y="-635000"/>
            <a:ext cx="444500" cy="444500"/>
          </a:xfrm>
          <a:prstGeom prst="ellipse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BDC1E75-354F-402E-94A2-F5E0C8FF60CA}"/>
              </a:ext>
            </a:extLst>
          </p:cNvPr>
          <p:cNvSpPr/>
          <p:nvPr/>
        </p:nvSpPr>
        <p:spPr>
          <a:xfrm>
            <a:off x="558800" y="-635000"/>
            <a:ext cx="444500" cy="444500"/>
          </a:xfrm>
          <a:prstGeom prst="ellipse">
            <a:avLst/>
          </a:prstGeom>
          <a:solidFill>
            <a:srgbClr val="90B0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6682FED-664D-44EA-9502-B4401CE465AA}"/>
              </a:ext>
            </a:extLst>
          </p:cNvPr>
          <p:cNvSpPr/>
          <p:nvPr/>
        </p:nvSpPr>
        <p:spPr>
          <a:xfrm>
            <a:off x="1117600" y="-635000"/>
            <a:ext cx="444500" cy="444500"/>
          </a:xfrm>
          <a:prstGeom prst="ellipse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8D0CD9-2222-4EAB-80DA-05CE0B3CF50E}"/>
              </a:ext>
            </a:extLst>
          </p:cNvPr>
          <p:cNvSpPr/>
          <p:nvPr/>
        </p:nvSpPr>
        <p:spPr>
          <a:xfrm>
            <a:off x="1676400" y="-635000"/>
            <a:ext cx="444500" cy="444500"/>
          </a:xfrm>
          <a:prstGeom prst="ellipse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39E06BB-9A1A-40F4-8C02-FF0936F8BB4C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6BFB6E9-B315-4140-8C1B-98453CDD60F1}"/>
              </a:ext>
            </a:extLst>
          </p:cNvPr>
          <p:cNvSpPr/>
          <p:nvPr/>
        </p:nvSpPr>
        <p:spPr>
          <a:xfrm>
            <a:off x="2794000" y="-635000"/>
            <a:ext cx="444500" cy="444500"/>
          </a:xfrm>
          <a:prstGeom prst="ellipse">
            <a:avLst/>
          </a:prstGeom>
          <a:solidFill>
            <a:srgbClr val="FDFE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7704C4-D420-491B-8C40-7D3ECDD781BC}"/>
              </a:ext>
            </a:extLst>
          </p:cNvPr>
          <p:cNvSpPr txBox="1"/>
          <p:nvPr/>
        </p:nvSpPr>
        <p:spPr>
          <a:xfrm>
            <a:off x="647536" y="1787111"/>
            <a:ext cx="515896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C491CC4C-26D7-F2CC-C81D-2BA7494EB4F4}"/>
              </a:ext>
            </a:extLst>
          </p:cNvPr>
          <p:cNvSpPr/>
          <p:nvPr/>
        </p:nvSpPr>
        <p:spPr>
          <a:xfrm flipH="1">
            <a:off x="670069" y="6487550"/>
            <a:ext cx="11816805" cy="1001305"/>
          </a:xfrm>
          <a:prstGeom prst="round1Rect">
            <a:avLst>
              <a:gd name="adj" fmla="val 50000"/>
            </a:avLst>
          </a:prstGeom>
          <a:solidFill>
            <a:srgbClr val="2A3E33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E2C10C-D756-67BB-466E-F92564C6059B}"/>
              </a:ext>
            </a:extLst>
          </p:cNvPr>
          <p:cNvSpPr txBox="1"/>
          <p:nvPr/>
        </p:nvSpPr>
        <p:spPr>
          <a:xfrm>
            <a:off x="1261569" y="6603758"/>
            <a:ext cx="392290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>
                <a:solidFill>
                  <a:schemeClr val="bg1"/>
                </a:solidFill>
              </a:rPr>
              <a:t>By, Faeq Faisal, Hamza </a:t>
            </a:r>
            <a:r>
              <a:rPr lang="en-US" sz="1050" err="1">
                <a:solidFill>
                  <a:schemeClr val="bg1"/>
                </a:solidFill>
              </a:rPr>
              <a:t>Wahbi</a:t>
            </a:r>
            <a:r>
              <a:rPr lang="en-US" sz="1050">
                <a:solidFill>
                  <a:schemeClr val="bg1"/>
                </a:solidFill>
              </a:rPr>
              <a:t> &amp; Benyamin Bansal</a:t>
            </a:r>
          </a:p>
        </p:txBody>
      </p:sp>
      <p:pic>
        <p:nvPicPr>
          <p:cNvPr id="473" name="Graphic 472">
            <a:extLst>
              <a:ext uri="{FF2B5EF4-FFF2-40B4-BE49-F238E27FC236}">
                <a16:creationId xmlns:a16="http://schemas.microsoft.com/office/drawing/2014/main" id="{AB8931FC-796F-4055-83AA-1B87C2EEC5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932382" flipH="1">
            <a:off x="6272220" y="4720556"/>
            <a:ext cx="1173145" cy="2510941"/>
          </a:xfrm>
          <a:prstGeom prst="rect">
            <a:avLst/>
          </a:prstGeom>
        </p:spPr>
      </p:pic>
      <p:sp>
        <p:nvSpPr>
          <p:cNvPr id="1387" name="Graphic 460">
            <a:extLst>
              <a:ext uri="{FF2B5EF4-FFF2-40B4-BE49-F238E27FC236}">
                <a16:creationId xmlns:a16="http://schemas.microsoft.com/office/drawing/2014/main" id="{5FE0F5A2-9FFE-4C53-AD07-F1994A01E598}"/>
              </a:ext>
            </a:extLst>
          </p:cNvPr>
          <p:cNvSpPr/>
          <p:nvPr/>
        </p:nvSpPr>
        <p:spPr>
          <a:xfrm>
            <a:off x="5750437" y="4056318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80" name="Graphic 1379">
            <a:extLst>
              <a:ext uri="{FF2B5EF4-FFF2-40B4-BE49-F238E27FC236}">
                <a16:creationId xmlns:a16="http://schemas.microsoft.com/office/drawing/2014/main" id="{83733D6B-E099-4335-A325-21FCE22B5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9599" y="4598534"/>
            <a:ext cx="1721844" cy="2419488"/>
          </a:xfrm>
          <a:prstGeom prst="rect">
            <a:avLst/>
          </a:prstGeom>
        </p:spPr>
      </p:pic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BA00F6BD-ABD4-4B87-80EE-C5ED4FFBABCC}"/>
              </a:ext>
            </a:extLst>
          </p:cNvPr>
          <p:cNvSpPr/>
          <p:nvPr/>
        </p:nvSpPr>
        <p:spPr>
          <a:xfrm flipH="1">
            <a:off x="7518400" y="986970"/>
            <a:ext cx="4673600" cy="5871029"/>
          </a:xfrm>
          <a:prstGeom prst="round1Rect">
            <a:avLst/>
          </a:prstGeom>
          <a:solidFill>
            <a:srgbClr val="D7EDC7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C60A45-3DB6-4596-B21E-9EF4114BA878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1205457-0811-4FBC-A795-BBAFD80C9CD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46EE3D1-DC52-4B65-98F4-8CA8BF5E401E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5DD88DB-1F75-48E5-8F5A-F730EB473A8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31" descr="Green-leafed Plant">
            <a:extLst>
              <a:ext uri="{FF2B5EF4-FFF2-40B4-BE49-F238E27FC236}">
                <a16:creationId xmlns:a16="http://schemas.microsoft.com/office/drawing/2014/main" id="{1393E241-A3C1-4C3D-8DD8-ED8E4D0C5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53"/>
          <a:stretch>
            <a:fillRect/>
          </a:stretch>
        </p:blipFill>
        <p:spPr bwMode="auto">
          <a:xfrm>
            <a:off x="7518401" y="986970"/>
            <a:ext cx="4673599" cy="5871029"/>
          </a:xfrm>
          <a:custGeom>
            <a:avLst/>
            <a:gdLst>
              <a:gd name="connsiteX0" fmla="*/ 778949 w 4673599"/>
              <a:gd name="connsiteY0" fmla="*/ 0 h 5871029"/>
              <a:gd name="connsiteX1" fmla="*/ 4673599 w 4673599"/>
              <a:gd name="connsiteY1" fmla="*/ 0 h 5871029"/>
              <a:gd name="connsiteX2" fmla="*/ 4673599 w 4673599"/>
              <a:gd name="connsiteY2" fmla="*/ 5871029 h 5871029"/>
              <a:gd name="connsiteX3" fmla="*/ 0 w 4673599"/>
              <a:gd name="connsiteY3" fmla="*/ 5871029 h 5871029"/>
              <a:gd name="connsiteX4" fmla="*/ 0 w 4673599"/>
              <a:gd name="connsiteY4" fmla="*/ 778949 h 5871029"/>
              <a:gd name="connsiteX5" fmla="*/ 778949 w 4673599"/>
              <a:gd name="connsiteY5" fmla="*/ 0 h 587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3599" h="5871029">
                <a:moveTo>
                  <a:pt x="778949" y="0"/>
                </a:moveTo>
                <a:lnTo>
                  <a:pt x="4673599" y="0"/>
                </a:lnTo>
                <a:lnTo>
                  <a:pt x="4673599" y="5871029"/>
                </a:lnTo>
                <a:lnTo>
                  <a:pt x="0" y="5871029"/>
                </a:lnTo>
                <a:lnTo>
                  <a:pt x="0" y="778949"/>
                </a:lnTo>
                <a:cubicBezTo>
                  <a:pt x="0" y="348747"/>
                  <a:pt x="348747" y="0"/>
                  <a:pt x="77894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A680EDD-03F5-4CFF-A40B-D3912B65D2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666" y="385832"/>
            <a:ext cx="2816472" cy="1676886"/>
          </a:xfrm>
          <a:prstGeom prst="rect">
            <a:avLst/>
          </a:prstGeom>
        </p:spPr>
      </p:pic>
      <p:pic>
        <p:nvPicPr>
          <p:cNvPr id="1377" name="Graphic 1376">
            <a:extLst>
              <a:ext uri="{FF2B5EF4-FFF2-40B4-BE49-F238E27FC236}">
                <a16:creationId xmlns:a16="http://schemas.microsoft.com/office/drawing/2014/main" id="{0DE58F00-7DF8-4DC1-8E6C-BFB9E9FA0E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71987" y="4075345"/>
            <a:ext cx="1525277" cy="3315820"/>
          </a:xfrm>
          <a:prstGeom prst="rect">
            <a:avLst/>
          </a:prstGeom>
        </p:spPr>
      </p:pic>
      <p:pic>
        <p:nvPicPr>
          <p:cNvPr id="1379" name="Graphic 1378">
            <a:extLst>
              <a:ext uri="{FF2B5EF4-FFF2-40B4-BE49-F238E27FC236}">
                <a16:creationId xmlns:a16="http://schemas.microsoft.com/office/drawing/2014/main" id="{8A6FC5A6-E874-4766-8949-4C4ABFC12C6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05036" y="4362057"/>
            <a:ext cx="1194638" cy="2730601"/>
          </a:xfrm>
          <a:prstGeom prst="rect">
            <a:avLst/>
          </a:prstGeom>
        </p:spPr>
      </p:pic>
      <p:pic>
        <p:nvPicPr>
          <p:cNvPr id="1382" name="Graphic 1381">
            <a:extLst>
              <a:ext uri="{FF2B5EF4-FFF2-40B4-BE49-F238E27FC236}">
                <a16:creationId xmlns:a16="http://schemas.microsoft.com/office/drawing/2014/main" id="{DD913929-155B-4D1C-9292-77335173F3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21867">
            <a:off x="7515675" y="4528686"/>
            <a:ext cx="1173145" cy="2510941"/>
          </a:xfrm>
          <a:prstGeom prst="rect">
            <a:avLst/>
          </a:prstGeom>
        </p:spPr>
      </p:pic>
      <p:pic>
        <p:nvPicPr>
          <p:cNvPr id="1383" name="Graphic 1382">
            <a:extLst>
              <a:ext uri="{FF2B5EF4-FFF2-40B4-BE49-F238E27FC236}">
                <a16:creationId xmlns:a16="http://schemas.microsoft.com/office/drawing/2014/main" id="{682E9BA8-0316-40EE-B8C9-3B910B947EA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6664766">
            <a:off x="6240679" y="5514772"/>
            <a:ext cx="1361312" cy="1563821"/>
          </a:xfrm>
          <a:prstGeom prst="rect">
            <a:avLst/>
          </a:prstGeom>
        </p:spPr>
      </p:pic>
      <p:pic>
        <p:nvPicPr>
          <p:cNvPr id="1375" name="Picture 1374">
            <a:extLst>
              <a:ext uri="{FF2B5EF4-FFF2-40B4-BE49-F238E27FC236}">
                <a16:creationId xmlns:a16="http://schemas.microsoft.com/office/drawing/2014/main" id="{C1084779-F7D5-447B-AFAB-3BF529D477C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5547" y="2161131"/>
            <a:ext cx="1388163" cy="1946742"/>
          </a:xfrm>
          <a:prstGeom prst="rect">
            <a:avLst/>
          </a:prstGeom>
        </p:spPr>
      </p:pic>
      <p:pic>
        <p:nvPicPr>
          <p:cNvPr id="457" name="Graphic 456">
            <a:extLst>
              <a:ext uri="{FF2B5EF4-FFF2-40B4-BE49-F238E27FC236}">
                <a16:creationId xmlns:a16="http://schemas.microsoft.com/office/drawing/2014/main" id="{71085EBF-621A-4C9D-94A1-AAD06E65869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3371695">
            <a:off x="9776635" y="5629309"/>
            <a:ext cx="1505517" cy="1729478"/>
          </a:xfrm>
          <a:prstGeom prst="rect">
            <a:avLst/>
          </a:prstGeom>
        </p:spPr>
      </p:pic>
      <p:pic>
        <p:nvPicPr>
          <p:cNvPr id="1381" name="Graphic 1380">
            <a:extLst>
              <a:ext uri="{FF2B5EF4-FFF2-40B4-BE49-F238E27FC236}">
                <a16:creationId xmlns:a16="http://schemas.microsoft.com/office/drawing/2014/main" id="{D17CB0D1-3A16-4D54-8ED7-068F09619A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12939" y="5191699"/>
            <a:ext cx="934985" cy="1856801"/>
          </a:xfrm>
          <a:prstGeom prst="rect">
            <a:avLst/>
          </a:prstGeom>
        </p:spPr>
      </p:pic>
      <p:pic>
        <p:nvPicPr>
          <p:cNvPr id="1384" name="Graphic 1383">
            <a:extLst>
              <a:ext uri="{FF2B5EF4-FFF2-40B4-BE49-F238E27FC236}">
                <a16:creationId xmlns:a16="http://schemas.microsoft.com/office/drawing/2014/main" id="{06E47D55-D461-4D28-ABDB-1F8D315F29D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45914" y="4696664"/>
            <a:ext cx="1349178" cy="1925750"/>
          </a:xfrm>
          <a:prstGeom prst="rect">
            <a:avLst/>
          </a:prstGeom>
        </p:spPr>
      </p:pic>
      <p:pic>
        <p:nvPicPr>
          <p:cNvPr id="458" name="Graphic 457">
            <a:extLst>
              <a:ext uri="{FF2B5EF4-FFF2-40B4-BE49-F238E27FC236}">
                <a16:creationId xmlns:a16="http://schemas.microsoft.com/office/drawing/2014/main" id="{065C9871-4B8C-47B7-8604-D975CB37F9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69644" y="5004913"/>
            <a:ext cx="772715" cy="1534546"/>
          </a:xfrm>
          <a:prstGeom prst="rect">
            <a:avLst/>
          </a:prstGeom>
        </p:spPr>
      </p:pic>
      <p:pic>
        <p:nvPicPr>
          <p:cNvPr id="1385" name="Graphic 1384">
            <a:extLst>
              <a:ext uri="{FF2B5EF4-FFF2-40B4-BE49-F238E27FC236}">
                <a16:creationId xmlns:a16="http://schemas.microsoft.com/office/drawing/2014/main" id="{E86959AA-0054-4D22-83B6-89C03A718F9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536619" y="5419968"/>
            <a:ext cx="1954192" cy="2018264"/>
          </a:xfrm>
          <a:prstGeom prst="rect">
            <a:avLst/>
          </a:prstGeom>
        </p:spPr>
      </p:pic>
      <p:pic>
        <p:nvPicPr>
          <p:cNvPr id="1386" name="Graphic 1385">
            <a:extLst>
              <a:ext uri="{FF2B5EF4-FFF2-40B4-BE49-F238E27FC236}">
                <a16:creationId xmlns:a16="http://schemas.microsoft.com/office/drawing/2014/main" id="{27A30A95-75D8-43F4-A9D3-BB691BD9E56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1297693" flipH="1">
            <a:off x="7537538" y="5550830"/>
            <a:ext cx="1631140" cy="1661628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B511730C-FF95-7F44-B043-76BB0BF89C02}"/>
              </a:ext>
            </a:extLst>
          </p:cNvPr>
          <p:cNvGrpSpPr/>
          <p:nvPr/>
        </p:nvGrpSpPr>
        <p:grpSpPr>
          <a:xfrm>
            <a:off x="699757" y="367127"/>
            <a:ext cx="1944171" cy="413217"/>
            <a:chOff x="699757" y="367127"/>
            <a:chExt cx="1944171" cy="41321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F9D198E-A332-0A13-61FE-75089899544C}"/>
                </a:ext>
              </a:extLst>
            </p:cNvPr>
            <p:cNvSpPr txBox="1"/>
            <p:nvPr/>
          </p:nvSpPr>
          <p:spPr>
            <a:xfrm>
              <a:off x="1153372" y="468312"/>
              <a:ext cx="149055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solidFill>
                    <a:schemeClr val="bg1"/>
                  </a:solidFill>
                </a:rPr>
                <a:t>LLM 2 LEAF</a:t>
              </a:r>
            </a:p>
          </p:txBody>
        </p:sp>
        <p:pic>
          <p:nvPicPr>
            <p:cNvPr id="15" name="Graphic 14" descr="Leaf outline">
              <a:extLst>
                <a:ext uri="{FF2B5EF4-FFF2-40B4-BE49-F238E27FC236}">
                  <a16:creationId xmlns:a16="http://schemas.microsoft.com/office/drawing/2014/main" id="{0F049652-F6E5-24C8-DA5D-1D3E4F8A2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99757" y="367127"/>
              <a:ext cx="413217" cy="413217"/>
            </a:xfrm>
            <a:prstGeom prst="rect">
              <a:avLst/>
            </a:prstGeom>
          </p:spPr>
        </p:pic>
      </p:grpSp>
      <p:pic>
        <p:nvPicPr>
          <p:cNvPr id="16" name="Picture 15" descr="Green (series) | Among Us Wiki | Fandom">
            <a:extLst>
              <a:ext uri="{FF2B5EF4-FFF2-40B4-BE49-F238E27FC236}">
                <a16:creationId xmlns:a16="http://schemas.microsoft.com/office/drawing/2014/main" id="{88CD29E5-99BA-F446-7185-08AC08723B9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045789" y="3018182"/>
            <a:ext cx="1219202" cy="118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89652"/>
      </p:ext>
    </p:extLst>
  </p:cSld>
  <p:clrMapOvr>
    <a:masterClrMapping/>
  </p:clrMapOvr>
  <p:transition spd="slow" advTm="9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plant&#10;&#10;Description automatically generated">
            <a:extLst>
              <a:ext uri="{FF2B5EF4-FFF2-40B4-BE49-F238E27FC236}">
                <a16:creationId xmlns:a16="http://schemas.microsoft.com/office/drawing/2014/main" id="{DAD8CD1B-33D8-4419-8370-68FD78BD682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E62FE0E-AFCC-46A2-A90D-8F7193261828}"/>
              </a:ext>
            </a:extLst>
          </p:cNvPr>
          <p:cNvSpPr/>
          <p:nvPr/>
        </p:nvSpPr>
        <p:spPr>
          <a:xfrm>
            <a:off x="0" y="-1"/>
            <a:ext cx="12192000" cy="6186272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7EE2937-6B52-41A5-BE62-B2D21B5478A9}"/>
              </a:ext>
            </a:extLst>
          </p:cNvPr>
          <p:cNvSpPr txBox="1"/>
          <p:nvPr/>
        </p:nvSpPr>
        <p:spPr>
          <a:xfrm>
            <a:off x="5535086" y="671729"/>
            <a:ext cx="47224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800" b="1">
                <a:solidFill>
                  <a:schemeClr val="bg1"/>
                </a:solidFill>
              </a:rPr>
              <a:t>WHY </a:t>
            </a:r>
            <a:r>
              <a:rPr lang="id-ID" sz="4800" b="1">
                <a:solidFill>
                  <a:srgbClr val="E1BE63"/>
                </a:solidFill>
              </a:rPr>
              <a:t>US?</a:t>
            </a:r>
            <a:endParaRPr lang="en-US" sz="4800" b="1">
              <a:solidFill>
                <a:srgbClr val="E1BE63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174154-F6F8-459C-8D65-A07475B59702}"/>
              </a:ext>
            </a:extLst>
          </p:cNvPr>
          <p:cNvSpPr txBox="1"/>
          <p:nvPr/>
        </p:nvSpPr>
        <p:spPr>
          <a:xfrm>
            <a:off x="5569570" y="2266708"/>
            <a:ext cx="281878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200" err="1">
                <a:solidFill>
                  <a:schemeClr val="bg1"/>
                </a:solidFill>
              </a:rPr>
              <a:t>urna</a:t>
            </a:r>
            <a:r>
              <a:rPr lang="en-US" sz="1200">
                <a:solidFill>
                  <a:schemeClr val="bg1"/>
                </a:solidFill>
              </a:rPr>
              <a:t>.</a:t>
            </a:r>
            <a:r>
              <a:rPr lang="id-ID" sz="1200">
                <a:solidFill>
                  <a:schemeClr val="bg1"/>
                </a:solidFill>
              </a:rPr>
              <a:t> </a:t>
            </a:r>
            <a:r>
              <a:rPr lang="en-US" sz="1200">
                <a:solidFill>
                  <a:schemeClr val="bg1"/>
                </a:solidFill>
              </a:rPr>
              <a:t>Lorem ipsum dolor sit </a:t>
            </a:r>
            <a:r>
              <a:rPr lang="en-US" sz="1200" err="1">
                <a:solidFill>
                  <a:schemeClr val="bg1"/>
                </a:solidFill>
              </a:rPr>
              <a:t>amet</a:t>
            </a:r>
            <a:r>
              <a:rPr lang="en-US" sz="1200">
                <a:solidFill>
                  <a:schemeClr val="bg1"/>
                </a:solidFill>
              </a:rPr>
              <a:t>, </a:t>
            </a:r>
            <a:r>
              <a:rPr lang="en-US" sz="1200" err="1">
                <a:solidFill>
                  <a:schemeClr val="bg1"/>
                </a:solidFill>
              </a:rPr>
              <a:t>consectetuer</a:t>
            </a:r>
            <a:r>
              <a:rPr lang="en-US" sz="1200">
                <a:solidFill>
                  <a:schemeClr val="bg1"/>
                </a:solidFill>
              </a:rPr>
              <a:t> </a:t>
            </a:r>
            <a:r>
              <a:rPr lang="en-US" sz="1200" err="1">
                <a:solidFill>
                  <a:schemeClr val="bg1"/>
                </a:solidFill>
              </a:rPr>
              <a:t>adipiscing</a:t>
            </a:r>
            <a:r>
              <a:rPr lang="en-US" sz="1200">
                <a:solidFill>
                  <a:schemeClr val="bg1"/>
                </a:solidFill>
              </a:rPr>
              <a:t> </a:t>
            </a:r>
            <a:r>
              <a:rPr lang="en-US" sz="1200" err="1">
                <a:solidFill>
                  <a:schemeClr val="bg1"/>
                </a:solidFill>
              </a:rPr>
              <a:t>elit</a:t>
            </a:r>
            <a:r>
              <a:rPr lang="en-US" sz="120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0C42D1-9CAB-4B5A-9358-F35F87B21F4E}"/>
              </a:ext>
            </a:extLst>
          </p:cNvPr>
          <p:cNvSpPr txBox="1"/>
          <p:nvPr/>
        </p:nvSpPr>
        <p:spPr>
          <a:xfrm>
            <a:off x="5569568" y="1706845"/>
            <a:ext cx="35874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Lorem Ipsum Dolor Sit Amet. </a:t>
            </a:r>
            <a:endParaRPr lang="en-US" b="1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228AD11-43AA-4E33-84DD-9F77AE02776B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564A70D-9363-494F-B2B4-EA11EDAD98A9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ACF3565-B418-4FDA-A614-19E261F7B7FD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77C148A-C32A-4DE8-926F-BA12B1C51CB3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: Single Corner Rounded 7">
            <a:extLst>
              <a:ext uri="{FF2B5EF4-FFF2-40B4-BE49-F238E27FC236}">
                <a16:creationId xmlns:a16="http://schemas.microsoft.com/office/drawing/2014/main" id="{71B5A000-D796-4B8C-B47F-651DA1E0C1D3}"/>
              </a:ext>
            </a:extLst>
          </p:cNvPr>
          <p:cNvSpPr/>
          <p:nvPr/>
        </p:nvSpPr>
        <p:spPr>
          <a:xfrm>
            <a:off x="2184400" y="4357143"/>
            <a:ext cx="9361712" cy="2500857"/>
          </a:xfrm>
          <a:prstGeom prst="round1Rect">
            <a:avLst>
              <a:gd name="adj" fmla="val 18468"/>
            </a:avLst>
          </a:prstGeom>
          <a:solidFill>
            <a:srgbClr val="E1BE63"/>
          </a:soli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EF6D370-019B-4079-855C-4A910F0F22B5}"/>
              </a:ext>
            </a:extLst>
          </p:cNvPr>
          <p:cNvSpPr txBox="1"/>
          <p:nvPr/>
        </p:nvSpPr>
        <p:spPr>
          <a:xfrm>
            <a:off x="8760218" y="2266708"/>
            <a:ext cx="281878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  <a:r>
              <a:rPr lang="id-ID" sz="1200">
                <a:solidFill>
                  <a:schemeClr val="bg1"/>
                </a:solidFill>
              </a:rPr>
              <a:t> </a:t>
            </a:r>
            <a:r>
              <a:rPr lang="en-US" sz="1200">
                <a:solidFill>
                  <a:schemeClr val="bg1"/>
                </a:solidFill>
              </a:rPr>
              <a:t>Lorem ipsum dolor sit amet, consectetuer adipiscing elit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99D2FA-193C-4E7A-B9C5-CE7E484619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343466">
            <a:off x="-2082798" y="4723731"/>
            <a:ext cx="5965371" cy="2844799"/>
          </a:xfrm>
          <a:prstGeom prst="rect">
            <a:avLst/>
          </a:prstGeom>
        </p:spPr>
      </p:pic>
      <p:pic>
        <p:nvPicPr>
          <p:cNvPr id="11" name="Picture 10" descr="A view of a mountain&#10;&#10;Description automatically generated">
            <a:extLst>
              <a:ext uri="{FF2B5EF4-FFF2-40B4-BE49-F238E27FC236}">
                <a16:creationId xmlns:a16="http://schemas.microsoft.com/office/drawing/2014/main" id="{1E8AF9E4-A97B-41EB-AE46-B302EA07036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96" r="23113"/>
          <a:stretch/>
        </p:blipFill>
        <p:spPr>
          <a:xfrm>
            <a:off x="528737" y="469617"/>
            <a:ext cx="4512094" cy="5983657"/>
          </a:xfrm>
          <a:prstGeom prst="roundRect">
            <a:avLst>
              <a:gd name="adj" fmla="val 11579"/>
            </a:avLst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E18FF1EE-6B8D-43B6-8289-AFA874EAC10E}"/>
              </a:ext>
            </a:extLst>
          </p:cNvPr>
          <p:cNvGrpSpPr/>
          <p:nvPr/>
        </p:nvGrpSpPr>
        <p:grpSpPr>
          <a:xfrm>
            <a:off x="10084397" y="4773713"/>
            <a:ext cx="2520906" cy="2340573"/>
            <a:chOff x="9436937" y="3691996"/>
            <a:chExt cx="2934631" cy="2724702"/>
          </a:xfrm>
        </p:grpSpPr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94308AB-E02B-48DA-A217-75761F4BF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4230E351-F673-4A4E-8579-49D957D92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6AFA95FF-72DF-4BFC-AE34-A6CCDB6C1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42" name="Graphic 460">
              <a:extLst>
                <a:ext uri="{FF2B5EF4-FFF2-40B4-BE49-F238E27FC236}">
                  <a16:creationId xmlns:a16="http://schemas.microsoft.com/office/drawing/2014/main" id="{7F421E7D-42E9-4966-A1BD-68301DCDC470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B85E2328-86F9-4BEC-A7D9-1144D870A603}"/>
              </a:ext>
            </a:extLst>
          </p:cNvPr>
          <p:cNvSpPr txBox="1"/>
          <p:nvPr/>
        </p:nvSpPr>
        <p:spPr>
          <a:xfrm>
            <a:off x="5569568" y="5246329"/>
            <a:ext cx="434046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Lorem ipsum dolor sit amet, consectetuer adipiscing elit. Maecenas porttitor congue massa. 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B874F11-3B5D-4508-B0B3-9407AECAB865}"/>
              </a:ext>
            </a:extLst>
          </p:cNvPr>
          <p:cNvSpPr/>
          <p:nvPr/>
        </p:nvSpPr>
        <p:spPr>
          <a:xfrm>
            <a:off x="5563856" y="4002032"/>
            <a:ext cx="974104" cy="974104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Graphic 44" descr="Forest scene">
            <a:extLst>
              <a:ext uri="{FF2B5EF4-FFF2-40B4-BE49-F238E27FC236}">
                <a16:creationId xmlns:a16="http://schemas.microsoft.com/office/drawing/2014/main" id="{1F82FEB0-AA0A-4612-B050-3C78D15F67D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38634" y="4176810"/>
            <a:ext cx="624548" cy="624548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57F352-2BD2-4741-A6FC-458BDE2723EB}"/>
              </a:ext>
            </a:extLst>
          </p:cNvPr>
          <p:cNvCxnSpPr>
            <a:cxnSpLocks/>
          </p:cNvCxnSpPr>
          <p:nvPr/>
        </p:nvCxnSpPr>
        <p:spPr>
          <a:xfrm>
            <a:off x="419417" y="1041061"/>
            <a:ext cx="480470" cy="0"/>
          </a:xfrm>
          <a:prstGeom prst="line">
            <a:avLst/>
          </a:prstGeom>
          <a:ln w="50800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723024"/>
      </p:ext>
    </p:extLst>
  </p:cSld>
  <p:clrMapOvr>
    <a:masterClrMapping/>
  </p:clrMapOvr>
  <p:transition spd="slow" advTm="9000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11kNp7I927O8.8XU38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0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b735851-7787-4ce5-8ca1-41ac80d0bf9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5AB8F1668AE46A41DA0DF8B8FC518" ma:contentTypeVersion="16" ma:contentTypeDescription="Create a new document." ma:contentTypeScope="" ma:versionID="19b5811bcb204f85d2bedacb7f711866">
  <xsd:schema xmlns:xsd="http://www.w3.org/2001/XMLSchema" xmlns:xs="http://www.w3.org/2001/XMLSchema" xmlns:p="http://schemas.microsoft.com/office/2006/metadata/properties" xmlns:ns3="5b735851-7787-4ce5-8ca1-41ac80d0bf9d" xmlns:ns4="b0de59b7-70d8-490e-930a-9742fd81c737" targetNamespace="http://schemas.microsoft.com/office/2006/metadata/properties" ma:root="true" ma:fieldsID="11d27d61f5612baec4bdb0813e84b81d" ns3:_="" ns4:_="">
    <xsd:import namespace="5b735851-7787-4ce5-8ca1-41ac80d0bf9d"/>
    <xsd:import namespace="b0de59b7-70d8-490e-930a-9742fd81c73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DateTaken" minOccurs="0"/>
                <xsd:element ref="ns3:MediaServiceObjectDetectorVersions" minOccurs="0"/>
                <xsd:element ref="ns3:MediaServiceSearchProperties" minOccurs="0"/>
                <xsd:element ref="ns3:MediaServiceSystemTags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735851-7787-4ce5-8ca1-41ac80d0bf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7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de59b7-70d8-490e-930a-9742fd81c73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B89732-8B3B-4467-B5C9-38B85F784FE5}">
  <ds:schemaRefs>
    <ds:schemaRef ds:uri="http://www.w3.org/XML/1998/namespace"/>
    <ds:schemaRef ds:uri="b0de59b7-70d8-490e-930a-9742fd81c737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5b735851-7787-4ce5-8ca1-41ac80d0bf9d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893127D-B086-4A55-B8FC-41B50EE71F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C61140-EE0C-4289-8A8C-6077093C3770}">
  <ds:schemaRefs>
    <ds:schemaRef ds:uri="5b735851-7787-4ce5-8ca1-41ac80d0bf9d"/>
    <ds:schemaRef ds:uri="b0de59b7-70d8-490e-930a-9742fd81c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9</Words>
  <Application>Microsoft Office PowerPoint</Application>
  <PresentationFormat>Widescreen</PresentationFormat>
  <Paragraphs>72</Paragraphs>
  <Slides>10</Slides>
  <Notes>6</Notes>
  <HiddenSlides>2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Montserra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y irawan</dc:creator>
  <cp:lastModifiedBy>Faisal, Faeq (2022)</cp:lastModifiedBy>
  <cp:revision>2</cp:revision>
  <dcterms:created xsi:type="dcterms:W3CDTF">2020-10-16T03:43:26Z</dcterms:created>
  <dcterms:modified xsi:type="dcterms:W3CDTF">2025-02-10T09:0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5AB8F1668AE46A41DA0DF8B8FC518</vt:lpwstr>
  </property>
</Properties>
</file>